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5.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6.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7.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8.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9.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10.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5"/>
  </p:sldMasterIdLst>
  <p:notesMasterIdLst>
    <p:notesMasterId r:id="rId46"/>
  </p:notesMasterIdLst>
  <p:sldIdLst>
    <p:sldId id="256" r:id="rId6"/>
    <p:sldId id="261" r:id="rId7"/>
    <p:sldId id="1297" r:id="rId8"/>
    <p:sldId id="2146848215" r:id="rId9"/>
    <p:sldId id="327" r:id="rId10"/>
    <p:sldId id="278" r:id="rId11"/>
    <p:sldId id="266" r:id="rId12"/>
    <p:sldId id="2146848223" r:id="rId13"/>
    <p:sldId id="1065" r:id="rId14"/>
    <p:sldId id="2146848222" r:id="rId15"/>
    <p:sldId id="1283" r:id="rId16"/>
    <p:sldId id="1298" r:id="rId17"/>
    <p:sldId id="1296" r:id="rId18"/>
    <p:sldId id="1277" r:id="rId19"/>
    <p:sldId id="1278" r:id="rId20"/>
    <p:sldId id="1301" r:id="rId21"/>
    <p:sldId id="1299" r:id="rId22"/>
    <p:sldId id="1300" r:id="rId23"/>
    <p:sldId id="1302" r:id="rId24"/>
    <p:sldId id="1303" r:id="rId25"/>
    <p:sldId id="1295" r:id="rId26"/>
    <p:sldId id="1270" r:id="rId27"/>
    <p:sldId id="1272" r:id="rId28"/>
    <p:sldId id="1271" r:id="rId29"/>
    <p:sldId id="1273" r:id="rId30"/>
    <p:sldId id="1274" r:id="rId31"/>
    <p:sldId id="1275" r:id="rId32"/>
    <p:sldId id="1305" r:id="rId33"/>
    <p:sldId id="1306" r:id="rId34"/>
    <p:sldId id="1307" r:id="rId35"/>
    <p:sldId id="1308" r:id="rId36"/>
    <p:sldId id="1311" r:id="rId37"/>
    <p:sldId id="1312" r:id="rId38"/>
    <p:sldId id="1313" r:id="rId39"/>
    <p:sldId id="1314" r:id="rId40"/>
    <p:sldId id="1315" r:id="rId41"/>
    <p:sldId id="1316" r:id="rId42"/>
    <p:sldId id="269" r:id="rId43"/>
    <p:sldId id="1318" r:id="rId44"/>
    <p:sldId id="1292" r:id="rId4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3662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4138" autoAdjust="0"/>
    <p:restoredTop sz="94095" autoAdjust="0"/>
  </p:normalViewPr>
  <p:slideViewPr>
    <p:cSldViewPr snapToGrid="0">
      <p:cViewPr varScale="1">
        <p:scale>
          <a:sx n="73" d="100"/>
          <a:sy n="73" d="100"/>
        </p:scale>
        <p:origin x="52" y="252"/>
      </p:cViewPr>
      <p:guideLst/>
    </p:cSldViewPr>
  </p:slideViewPr>
  <p:notesTextViewPr>
    <p:cViewPr>
      <p:scale>
        <a:sx n="1" d="1"/>
        <a:sy n="1" d="1"/>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viewProps" Target="viewProps.xml"/><Relationship Id="rId8" Type="http://schemas.openxmlformats.org/officeDocument/2006/relationships/slide" Target="slides/slide3.xml"/><Relationship Id="rId51" Type="http://schemas.microsoft.com/office/2016/11/relationships/changesInfo" Target="changesInfos/changesInfo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notesMaster" Target="notesMasters/notesMaster1.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ukanya Baruah" userId="c9b49311117c34e9" providerId="LiveId" clId="{19C9C220-7795-4867-B42A-51E8841EEBEB}"/>
    <pc:docChg chg="modSld">
      <pc:chgData name="Sukanya Baruah" userId="c9b49311117c34e9" providerId="LiveId" clId="{19C9C220-7795-4867-B42A-51E8841EEBEB}" dt="2024-10-22T16:24:12.097" v="11" actId="20577"/>
      <pc:docMkLst>
        <pc:docMk/>
      </pc:docMkLst>
      <pc:sldChg chg="modSp mod">
        <pc:chgData name="Sukanya Baruah" userId="c9b49311117c34e9" providerId="LiveId" clId="{19C9C220-7795-4867-B42A-51E8841EEBEB}" dt="2024-10-22T16:24:12.097" v="11" actId="20577"/>
        <pc:sldMkLst>
          <pc:docMk/>
          <pc:sldMk cId="2310082348" sldId="256"/>
        </pc:sldMkLst>
        <pc:spChg chg="mod">
          <ac:chgData name="Sukanya Baruah" userId="c9b49311117c34e9" providerId="LiveId" clId="{19C9C220-7795-4867-B42A-51E8841EEBEB}" dt="2024-10-22T16:24:12.097" v="11" actId="20577"/>
          <ac:spMkLst>
            <pc:docMk/>
            <pc:sldMk cId="2310082348" sldId="256"/>
            <ac:spMk id="5" creationId="{29F41A6C-6286-E762-2C7A-9FB526D49792}"/>
          </ac:spMkLst>
        </pc:spChg>
      </pc:sldChg>
    </pc:docChg>
  </pc:docChgLst>
  <pc:docChgLst>
    <pc:chgData name="Pushkar Admane" userId="fe3f8df7-1622-429f-ab36-7cc76201e871" providerId="ADAL" clId="{EB9BA360-7DDB-430C-BB39-75B2462019C5}"/>
    <pc:docChg chg="undo redo custSel addSld delSld modSld sldOrd">
      <pc:chgData name="Pushkar Admane" userId="fe3f8df7-1622-429f-ab36-7cc76201e871" providerId="ADAL" clId="{EB9BA360-7DDB-430C-BB39-75B2462019C5}" dt="2024-10-16T18:25:07.954" v="1639" actId="20577"/>
      <pc:docMkLst>
        <pc:docMk/>
      </pc:docMkLst>
      <pc:sldChg chg="modAnim">
        <pc:chgData name="Pushkar Admane" userId="fe3f8df7-1622-429f-ab36-7cc76201e871" providerId="ADAL" clId="{EB9BA360-7DDB-430C-BB39-75B2462019C5}" dt="2024-10-16T16:19:51.738" v="828"/>
        <pc:sldMkLst>
          <pc:docMk/>
          <pc:sldMk cId="2310082348" sldId="256"/>
        </pc:sldMkLst>
      </pc:sldChg>
      <pc:sldChg chg="del">
        <pc:chgData name="Pushkar Admane" userId="fe3f8df7-1622-429f-ab36-7cc76201e871" providerId="ADAL" clId="{EB9BA360-7DDB-430C-BB39-75B2462019C5}" dt="2024-10-16T16:38:46.361" v="886" actId="2696"/>
        <pc:sldMkLst>
          <pc:docMk/>
          <pc:sldMk cId="2664299716" sldId="258"/>
        </pc:sldMkLst>
      </pc:sldChg>
      <pc:sldChg chg="del">
        <pc:chgData name="Pushkar Admane" userId="fe3f8df7-1622-429f-ab36-7cc76201e871" providerId="ADAL" clId="{EB9BA360-7DDB-430C-BB39-75B2462019C5}" dt="2024-10-16T17:38:08.635" v="1301" actId="47"/>
        <pc:sldMkLst>
          <pc:docMk/>
          <pc:sldMk cId="1783940583" sldId="259"/>
        </pc:sldMkLst>
      </pc:sldChg>
      <pc:sldChg chg="ord">
        <pc:chgData name="Pushkar Admane" userId="fe3f8df7-1622-429f-ab36-7cc76201e871" providerId="ADAL" clId="{EB9BA360-7DDB-430C-BB39-75B2462019C5}" dt="2024-10-15T18:33:56.034" v="121"/>
        <pc:sldMkLst>
          <pc:docMk/>
          <pc:sldMk cId="2173257715" sldId="260"/>
        </pc:sldMkLst>
      </pc:sldChg>
      <pc:sldChg chg="modAnim">
        <pc:chgData name="Pushkar Admane" userId="fe3f8df7-1622-429f-ab36-7cc76201e871" providerId="ADAL" clId="{EB9BA360-7DDB-430C-BB39-75B2462019C5}" dt="2024-10-16T16:20:04.014" v="829"/>
        <pc:sldMkLst>
          <pc:docMk/>
          <pc:sldMk cId="778108660" sldId="261"/>
        </pc:sldMkLst>
      </pc:sldChg>
      <pc:sldChg chg="modSp mod ord">
        <pc:chgData name="Pushkar Admane" userId="fe3f8df7-1622-429f-ab36-7cc76201e871" providerId="ADAL" clId="{EB9BA360-7DDB-430C-BB39-75B2462019C5}" dt="2024-10-16T03:51:50.917" v="378" actId="20577"/>
        <pc:sldMkLst>
          <pc:docMk/>
          <pc:sldMk cId="3901848413" sldId="266"/>
        </pc:sldMkLst>
        <pc:spChg chg="mod">
          <ac:chgData name="Pushkar Admane" userId="fe3f8df7-1622-429f-ab36-7cc76201e871" providerId="ADAL" clId="{EB9BA360-7DDB-430C-BB39-75B2462019C5}" dt="2024-10-16T03:51:40.971" v="374" actId="20577"/>
          <ac:spMkLst>
            <pc:docMk/>
            <pc:sldMk cId="3901848413" sldId="266"/>
            <ac:spMk id="6" creationId="{F3BF59AC-BDA4-CFB9-38AA-350EBDD93A90}"/>
          </ac:spMkLst>
        </pc:spChg>
        <pc:graphicFrameChg chg="mod modGraphic">
          <ac:chgData name="Pushkar Admane" userId="fe3f8df7-1622-429f-ab36-7cc76201e871" providerId="ADAL" clId="{EB9BA360-7DDB-430C-BB39-75B2462019C5}" dt="2024-10-16T03:51:50.917" v="378" actId="20577"/>
          <ac:graphicFrameMkLst>
            <pc:docMk/>
            <pc:sldMk cId="3901848413" sldId="266"/>
            <ac:graphicFrameMk id="7" creationId="{39C503B6-64BE-40F3-D782-88456B066405}"/>
          </ac:graphicFrameMkLst>
        </pc:graphicFrameChg>
      </pc:sldChg>
      <pc:sldChg chg="modSp add del mod">
        <pc:chgData name="Pushkar Admane" userId="fe3f8df7-1622-429f-ab36-7cc76201e871" providerId="ADAL" clId="{EB9BA360-7DDB-430C-BB39-75B2462019C5}" dt="2024-10-16T17:38:27.592" v="1310" actId="47"/>
        <pc:sldMkLst>
          <pc:docMk/>
          <pc:sldMk cId="3284030455" sldId="268"/>
        </pc:sldMkLst>
        <pc:spChg chg="mod">
          <ac:chgData name="Pushkar Admane" userId="fe3f8df7-1622-429f-ab36-7cc76201e871" providerId="ADAL" clId="{EB9BA360-7DDB-430C-BB39-75B2462019C5}" dt="2024-10-15T18:50:45.641" v="218" actId="27636"/>
          <ac:spMkLst>
            <pc:docMk/>
            <pc:sldMk cId="3284030455" sldId="268"/>
            <ac:spMk id="3" creationId="{B6EF9CE0-F6FE-4313-B76A-63F1DF0DB5BB}"/>
          </ac:spMkLst>
        </pc:spChg>
      </pc:sldChg>
      <pc:sldChg chg="ord modAnim">
        <pc:chgData name="Pushkar Admane" userId="fe3f8df7-1622-429f-ab36-7cc76201e871" providerId="ADAL" clId="{EB9BA360-7DDB-430C-BB39-75B2462019C5}" dt="2024-10-16T16:20:19.407" v="830"/>
        <pc:sldMkLst>
          <pc:docMk/>
          <pc:sldMk cId="3859843086" sldId="269"/>
        </pc:sldMkLst>
      </pc:sldChg>
      <pc:sldChg chg="del ord">
        <pc:chgData name="Pushkar Admane" userId="fe3f8df7-1622-429f-ab36-7cc76201e871" providerId="ADAL" clId="{EB9BA360-7DDB-430C-BB39-75B2462019C5}" dt="2024-10-15T18:34:07.133" v="122" actId="2696"/>
        <pc:sldMkLst>
          <pc:docMk/>
          <pc:sldMk cId="2057118852" sldId="271"/>
        </pc:sldMkLst>
      </pc:sldChg>
      <pc:sldChg chg="ord">
        <pc:chgData name="Pushkar Admane" userId="fe3f8df7-1622-429f-ab36-7cc76201e871" providerId="ADAL" clId="{EB9BA360-7DDB-430C-BB39-75B2462019C5}" dt="2024-10-15T17:59:03.437" v="3"/>
        <pc:sldMkLst>
          <pc:docMk/>
          <pc:sldMk cId="4050681806" sldId="276"/>
        </pc:sldMkLst>
      </pc:sldChg>
      <pc:sldChg chg="ord">
        <pc:chgData name="Pushkar Admane" userId="fe3f8df7-1622-429f-ab36-7cc76201e871" providerId="ADAL" clId="{EB9BA360-7DDB-430C-BB39-75B2462019C5}" dt="2024-10-15T17:59:10.371" v="5"/>
        <pc:sldMkLst>
          <pc:docMk/>
          <pc:sldMk cId="2839764508" sldId="278"/>
        </pc:sldMkLst>
      </pc:sldChg>
      <pc:sldChg chg="del">
        <pc:chgData name="Pushkar Admane" userId="fe3f8df7-1622-429f-ab36-7cc76201e871" providerId="ADAL" clId="{EB9BA360-7DDB-430C-BB39-75B2462019C5}" dt="2024-10-16T17:38:11.659" v="1302" actId="47"/>
        <pc:sldMkLst>
          <pc:docMk/>
          <pc:sldMk cId="162810459" sldId="279"/>
        </pc:sldMkLst>
      </pc:sldChg>
      <pc:sldChg chg="modSp del mod ord">
        <pc:chgData name="Pushkar Admane" userId="fe3f8df7-1622-429f-ab36-7cc76201e871" providerId="ADAL" clId="{EB9BA360-7DDB-430C-BB39-75B2462019C5}" dt="2024-10-16T17:38:17.774" v="1305" actId="47"/>
        <pc:sldMkLst>
          <pc:docMk/>
          <pc:sldMk cId="3484408679" sldId="280"/>
        </pc:sldMkLst>
        <pc:spChg chg="mod">
          <ac:chgData name="Pushkar Admane" userId="fe3f8df7-1622-429f-ab36-7cc76201e871" providerId="ADAL" clId="{EB9BA360-7DDB-430C-BB39-75B2462019C5}" dt="2024-10-15T18:36:27.256" v="205" actId="5793"/>
          <ac:spMkLst>
            <pc:docMk/>
            <pc:sldMk cId="3484408679" sldId="280"/>
            <ac:spMk id="3" creationId="{1C7D3D85-3AB5-1ED7-DACC-0B6D8CB09A14}"/>
          </ac:spMkLst>
        </pc:spChg>
      </pc:sldChg>
      <pc:sldChg chg="del">
        <pc:chgData name="Pushkar Admane" userId="fe3f8df7-1622-429f-ab36-7cc76201e871" providerId="ADAL" clId="{EB9BA360-7DDB-430C-BB39-75B2462019C5}" dt="2024-10-16T17:38:13.769" v="1303" actId="47"/>
        <pc:sldMkLst>
          <pc:docMk/>
          <pc:sldMk cId="1834382617" sldId="281"/>
        </pc:sldMkLst>
      </pc:sldChg>
      <pc:sldChg chg="del">
        <pc:chgData name="Pushkar Admane" userId="fe3f8df7-1622-429f-ab36-7cc76201e871" providerId="ADAL" clId="{EB9BA360-7DDB-430C-BB39-75B2462019C5}" dt="2024-10-16T17:38:15.633" v="1304" actId="47"/>
        <pc:sldMkLst>
          <pc:docMk/>
          <pc:sldMk cId="1926887747" sldId="282"/>
        </pc:sldMkLst>
      </pc:sldChg>
      <pc:sldChg chg="del">
        <pc:chgData name="Pushkar Admane" userId="fe3f8df7-1622-429f-ab36-7cc76201e871" providerId="ADAL" clId="{EB9BA360-7DDB-430C-BB39-75B2462019C5}" dt="2024-10-16T16:37:32.453" v="875" actId="2696"/>
        <pc:sldMkLst>
          <pc:docMk/>
          <pc:sldMk cId="1661945718" sldId="283"/>
        </pc:sldMkLst>
      </pc:sldChg>
      <pc:sldChg chg="add del">
        <pc:chgData name="Pushkar Admane" userId="fe3f8df7-1622-429f-ab36-7cc76201e871" providerId="ADAL" clId="{EB9BA360-7DDB-430C-BB39-75B2462019C5}" dt="2024-10-16T17:38:22.301" v="1307" actId="47"/>
        <pc:sldMkLst>
          <pc:docMk/>
          <pc:sldMk cId="3989301111" sldId="284"/>
        </pc:sldMkLst>
      </pc:sldChg>
      <pc:sldChg chg="del">
        <pc:chgData name="Pushkar Admane" userId="fe3f8df7-1622-429f-ab36-7cc76201e871" providerId="ADAL" clId="{EB9BA360-7DDB-430C-BB39-75B2462019C5}" dt="2024-10-16T16:37:28.750" v="874" actId="2696"/>
        <pc:sldMkLst>
          <pc:docMk/>
          <pc:sldMk cId="1548188505" sldId="309"/>
        </pc:sldMkLst>
      </pc:sldChg>
      <pc:sldChg chg="del">
        <pc:chgData name="Pushkar Admane" userId="fe3f8df7-1622-429f-ab36-7cc76201e871" providerId="ADAL" clId="{EB9BA360-7DDB-430C-BB39-75B2462019C5}" dt="2024-10-16T16:37:10.897" v="873" actId="2696"/>
        <pc:sldMkLst>
          <pc:docMk/>
          <pc:sldMk cId="265517174" sldId="314"/>
        </pc:sldMkLst>
      </pc:sldChg>
      <pc:sldChg chg="del">
        <pc:chgData name="Pushkar Admane" userId="fe3f8df7-1622-429f-ab36-7cc76201e871" providerId="ADAL" clId="{EB9BA360-7DDB-430C-BB39-75B2462019C5}" dt="2024-10-16T16:36:09.319" v="859" actId="2696"/>
        <pc:sldMkLst>
          <pc:docMk/>
          <pc:sldMk cId="1697734248" sldId="320"/>
        </pc:sldMkLst>
      </pc:sldChg>
      <pc:sldChg chg="add ord">
        <pc:chgData name="Pushkar Admane" userId="fe3f8df7-1622-429f-ab36-7cc76201e871" providerId="ADAL" clId="{EB9BA360-7DDB-430C-BB39-75B2462019C5}" dt="2024-10-16T16:34:39.320" v="857"/>
        <pc:sldMkLst>
          <pc:docMk/>
          <pc:sldMk cId="0" sldId="327"/>
        </pc:sldMkLst>
      </pc:sldChg>
      <pc:sldChg chg="addSp delSp modSp add mod ord">
        <pc:chgData name="Pushkar Admane" userId="fe3f8df7-1622-429f-ab36-7cc76201e871" providerId="ADAL" clId="{EB9BA360-7DDB-430C-BB39-75B2462019C5}" dt="2024-10-16T18:22:54.718" v="1633" actId="1076"/>
        <pc:sldMkLst>
          <pc:docMk/>
          <pc:sldMk cId="1771288237" sldId="355"/>
        </pc:sldMkLst>
        <pc:spChg chg="mod">
          <ac:chgData name="Pushkar Admane" userId="fe3f8df7-1622-429f-ab36-7cc76201e871" providerId="ADAL" clId="{EB9BA360-7DDB-430C-BB39-75B2462019C5}" dt="2024-10-16T04:37:56.408" v="826" actId="947"/>
          <ac:spMkLst>
            <pc:docMk/>
            <pc:sldMk cId="1771288237" sldId="355"/>
            <ac:spMk id="2" creationId="{00000000-0000-0000-0000-000000000000}"/>
          </ac:spMkLst>
        </pc:spChg>
        <pc:spChg chg="mod">
          <ac:chgData name="Pushkar Admane" userId="fe3f8df7-1622-429f-ab36-7cc76201e871" providerId="ADAL" clId="{EB9BA360-7DDB-430C-BB39-75B2462019C5}" dt="2024-10-16T18:22:54.718" v="1633" actId="1076"/>
          <ac:spMkLst>
            <pc:docMk/>
            <pc:sldMk cId="1771288237" sldId="355"/>
            <ac:spMk id="5" creationId="{A23CD3FF-E507-EE4F-9871-A2F9301165F9}"/>
          </ac:spMkLst>
        </pc:spChg>
        <pc:spChg chg="add del">
          <ac:chgData name="Pushkar Admane" userId="fe3f8df7-1622-429f-ab36-7cc76201e871" providerId="ADAL" clId="{EB9BA360-7DDB-430C-BB39-75B2462019C5}" dt="2024-10-16T04:33:26.069" v="760" actId="478"/>
          <ac:spMkLst>
            <pc:docMk/>
            <pc:sldMk cId="1771288237" sldId="355"/>
            <ac:spMk id="38" creationId="{072C82C7-2930-445E-A185-415CA2ECB8B7}"/>
          </ac:spMkLst>
        </pc:spChg>
        <pc:spChg chg="mod">
          <ac:chgData name="Pushkar Admane" userId="fe3f8df7-1622-429f-ab36-7cc76201e871" providerId="ADAL" clId="{EB9BA360-7DDB-430C-BB39-75B2462019C5}" dt="2024-10-16T04:34:20.837" v="774" actId="1076"/>
          <ac:spMkLst>
            <pc:docMk/>
            <pc:sldMk cId="1771288237" sldId="355"/>
            <ac:spMk id="40" creationId="{572F6069-EAFB-4AC4-A24B-39DFC3B299BD}"/>
          </ac:spMkLst>
        </pc:spChg>
        <pc:spChg chg="mod">
          <ac:chgData name="Pushkar Admane" userId="fe3f8df7-1622-429f-ab36-7cc76201e871" providerId="ADAL" clId="{EB9BA360-7DDB-430C-BB39-75B2462019C5}" dt="2024-10-16T04:34:17.648" v="773" actId="1076"/>
          <ac:spMkLst>
            <pc:docMk/>
            <pc:sldMk cId="1771288237" sldId="355"/>
            <ac:spMk id="41" creationId="{B33190BA-0CCD-442A-BBCB-94D7AEB78B50}"/>
          </ac:spMkLst>
        </pc:spChg>
        <pc:spChg chg="mod">
          <ac:chgData name="Pushkar Admane" userId="fe3f8df7-1622-429f-ab36-7cc76201e871" providerId="ADAL" clId="{EB9BA360-7DDB-430C-BB39-75B2462019C5}" dt="2024-10-16T04:34:11.319" v="772" actId="1076"/>
          <ac:spMkLst>
            <pc:docMk/>
            <pc:sldMk cId="1771288237" sldId="355"/>
            <ac:spMk id="42" creationId="{806E8F34-DFE0-4F36-8672-9308CA5BE307}"/>
          </ac:spMkLst>
        </pc:spChg>
        <pc:spChg chg="del mod">
          <ac:chgData name="Pushkar Admane" userId="fe3f8df7-1622-429f-ab36-7cc76201e871" providerId="ADAL" clId="{EB9BA360-7DDB-430C-BB39-75B2462019C5}" dt="2024-10-16T04:33:33.285" v="762" actId="478"/>
          <ac:spMkLst>
            <pc:docMk/>
            <pc:sldMk cId="1771288237" sldId="355"/>
            <ac:spMk id="43" creationId="{FAA320A7-DC34-4B02-8CA7-BC6108990789}"/>
          </ac:spMkLst>
        </pc:spChg>
        <pc:spChg chg="mod">
          <ac:chgData name="Pushkar Admane" userId="fe3f8df7-1622-429f-ab36-7cc76201e871" providerId="ADAL" clId="{EB9BA360-7DDB-430C-BB39-75B2462019C5}" dt="2024-10-16T04:37:13.321" v="825" actId="20577"/>
          <ac:spMkLst>
            <pc:docMk/>
            <pc:sldMk cId="1771288237" sldId="355"/>
            <ac:spMk id="44" creationId="{072C82C7-2930-445E-A185-415CA2ECB8B7}"/>
          </ac:spMkLst>
        </pc:spChg>
        <pc:spChg chg="del mod">
          <ac:chgData name="Pushkar Admane" userId="fe3f8df7-1622-429f-ab36-7cc76201e871" providerId="ADAL" clId="{EB9BA360-7DDB-430C-BB39-75B2462019C5}" dt="2024-10-16T04:34:05.472" v="771" actId="478"/>
          <ac:spMkLst>
            <pc:docMk/>
            <pc:sldMk cId="1771288237" sldId="355"/>
            <ac:spMk id="46" creationId="{572F6069-EAFB-4AC4-A24B-39DFC3B299BD}"/>
          </ac:spMkLst>
        </pc:spChg>
        <pc:spChg chg="del mod">
          <ac:chgData name="Pushkar Admane" userId="fe3f8df7-1622-429f-ab36-7cc76201e871" providerId="ADAL" clId="{EB9BA360-7DDB-430C-BB39-75B2462019C5}" dt="2024-10-16T04:34:01.172" v="769" actId="478"/>
          <ac:spMkLst>
            <pc:docMk/>
            <pc:sldMk cId="1771288237" sldId="355"/>
            <ac:spMk id="47" creationId="{B33190BA-0CCD-442A-BBCB-94D7AEB78B50}"/>
          </ac:spMkLst>
        </pc:spChg>
        <pc:spChg chg="del mod">
          <ac:chgData name="Pushkar Admane" userId="fe3f8df7-1622-429f-ab36-7cc76201e871" providerId="ADAL" clId="{EB9BA360-7DDB-430C-BB39-75B2462019C5}" dt="2024-10-16T04:33:57.604" v="767" actId="478"/>
          <ac:spMkLst>
            <pc:docMk/>
            <pc:sldMk cId="1771288237" sldId="355"/>
            <ac:spMk id="48" creationId="{806E8F34-DFE0-4F36-8672-9308CA5BE307}"/>
          </ac:spMkLst>
        </pc:spChg>
        <pc:spChg chg="mod">
          <ac:chgData name="Pushkar Admane" userId="fe3f8df7-1622-429f-ab36-7cc76201e871" providerId="ADAL" clId="{EB9BA360-7DDB-430C-BB39-75B2462019C5}" dt="2024-10-16T04:36:41.350" v="819" actId="403"/>
          <ac:spMkLst>
            <pc:docMk/>
            <pc:sldMk cId="1771288237" sldId="355"/>
            <ac:spMk id="49" creationId="{FAA320A7-DC34-4B02-8CA7-BC6108990789}"/>
          </ac:spMkLst>
        </pc:spChg>
        <pc:picChg chg="del mod">
          <ac:chgData name="Pushkar Admane" userId="fe3f8df7-1622-429f-ab36-7cc76201e871" providerId="ADAL" clId="{EB9BA360-7DDB-430C-BB39-75B2462019C5}" dt="2024-10-16T04:33:11.013" v="757" actId="478"/>
          <ac:picMkLst>
            <pc:docMk/>
            <pc:sldMk cId="1771288237" sldId="355"/>
            <ac:picMk id="34" creationId="{E0A0BC96-6DAC-4951-9E63-F2508FBB6F4A}"/>
          </ac:picMkLst>
        </pc:picChg>
        <pc:picChg chg="mod">
          <ac:chgData name="Pushkar Admane" userId="fe3f8df7-1622-429f-ab36-7cc76201e871" providerId="ADAL" clId="{EB9BA360-7DDB-430C-BB39-75B2462019C5}" dt="2024-10-16T04:35:33.483" v="795" actId="1037"/>
          <ac:picMkLst>
            <pc:docMk/>
            <pc:sldMk cId="1771288237" sldId="355"/>
            <ac:picMk id="35" creationId="{E0A0BC96-6DAC-4951-9E63-F2508FBB6F4A}"/>
          </ac:picMkLst>
        </pc:picChg>
      </pc:sldChg>
      <pc:sldChg chg="addSp delSp modSp add mod ord">
        <pc:chgData name="Pushkar Admane" userId="fe3f8df7-1622-429f-ab36-7cc76201e871" providerId="ADAL" clId="{EB9BA360-7DDB-430C-BB39-75B2462019C5}" dt="2024-10-16T16:26:17.795" v="846"/>
        <pc:sldMkLst>
          <pc:docMk/>
          <pc:sldMk cId="1129706397" sldId="360"/>
        </pc:sldMkLst>
        <pc:spChg chg="mod">
          <ac:chgData name="Pushkar Admane" userId="fe3f8df7-1622-429f-ab36-7cc76201e871" providerId="ADAL" clId="{EB9BA360-7DDB-430C-BB39-75B2462019C5}" dt="2024-10-16T04:23:41.993" v="661" actId="1076"/>
          <ac:spMkLst>
            <pc:docMk/>
            <pc:sldMk cId="1129706397" sldId="360"/>
            <ac:spMk id="2" creationId="{00000000-0000-0000-0000-000000000000}"/>
          </ac:spMkLst>
        </pc:spChg>
        <pc:spChg chg="mod">
          <ac:chgData name="Pushkar Admane" userId="fe3f8df7-1622-429f-ab36-7cc76201e871" providerId="ADAL" clId="{EB9BA360-7DDB-430C-BB39-75B2462019C5}" dt="2024-10-16T04:29:41.597" v="695" actId="2711"/>
          <ac:spMkLst>
            <pc:docMk/>
            <pc:sldMk cId="1129706397" sldId="360"/>
            <ac:spMk id="3" creationId="{00000000-0000-0000-0000-000000000000}"/>
          </ac:spMkLst>
        </pc:spChg>
        <pc:spChg chg="mod">
          <ac:chgData name="Pushkar Admane" userId="fe3f8df7-1622-429f-ab36-7cc76201e871" providerId="ADAL" clId="{EB9BA360-7DDB-430C-BB39-75B2462019C5}" dt="2024-10-16T04:27:43.196" v="684" actId="1076"/>
          <ac:spMkLst>
            <pc:docMk/>
            <pc:sldMk cId="1129706397" sldId="360"/>
            <ac:spMk id="4" creationId="{00000000-0000-0000-0000-000000000000}"/>
          </ac:spMkLst>
        </pc:spChg>
        <pc:spChg chg="mod">
          <ac:chgData name="Pushkar Admane" userId="fe3f8df7-1622-429f-ab36-7cc76201e871" providerId="ADAL" clId="{EB9BA360-7DDB-430C-BB39-75B2462019C5}" dt="2024-10-16T04:21:23.161" v="641" actId="1038"/>
          <ac:spMkLst>
            <pc:docMk/>
            <pc:sldMk cId="1129706397" sldId="360"/>
            <ac:spMk id="8" creationId="{00000000-0000-0000-0000-000000000000}"/>
          </ac:spMkLst>
        </pc:spChg>
        <pc:spChg chg="mod">
          <ac:chgData name="Pushkar Admane" userId="fe3f8df7-1622-429f-ab36-7cc76201e871" providerId="ADAL" clId="{EB9BA360-7DDB-430C-BB39-75B2462019C5}" dt="2024-10-16T04:27:28.059" v="682" actId="164"/>
          <ac:spMkLst>
            <pc:docMk/>
            <pc:sldMk cId="1129706397" sldId="360"/>
            <ac:spMk id="9" creationId="{00000000-0000-0000-0000-000000000000}"/>
          </ac:spMkLst>
        </pc:spChg>
        <pc:spChg chg="mod">
          <ac:chgData name="Pushkar Admane" userId="fe3f8df7-1622-429f-ab36-7cc76201e871" providerId="ADAL" clId="{EB9BA360-7DDB-430C-BB39-75B2462019C5}" dt="2024-10-16T04:27:28.059" v="682" actId="164"/>
          <ac:spMkLst>
            <pc:docMk/>
            <pc:sldMk cId="1129706397" sldId="360"/>
            <ac:spMk id="10" creationId="{00000000-0000-0000-0000-000000000000}"/>
          </ac:spMkLst>
        </pc:spChg>
        <pc:spChg chg="mod">
          <ac:chgData name="Pushkar Admane" userId="fe3f8df7-1622-429f-ab36-7cc76201e871" providerId="ADAL" clId="{EB9BA360-7DDB-430C-BB39-75B2462019C5}" dt="2024-10-16T04:27:28.059" v="682" actId="164"/>
          <ac:spMkLst>
            <pc:docMk/>
            <pc:sldMk cId="1129706397" sldId="360"/>
            <ac:spMk id="11" creationId="{00000000-0000-0000-0000-000000000000}"/>
          </ac:spMkLst>
        </pc:spChg>
        <pc:spChg chg="mod">
          <ac:chgData name="Pushkar Admane" userId="fe3f8df7-1622-429f-ab36-7cc76201e871" providerId="ADAL" clId="{EB9BA360-7DDB-430C-BB39-75B2462019C5}" dt="2024-10-16T04:27:28.059" v="682" actId="164"/>
          <ac:spMkLst>
            <pc:docMk/>
            <pc:sldMk cId="1129706397" sldId="360"/>
            <ac:spMk id="12" creationId="{00000000-0000-0000-0000-000000000000}"/>
          </ac:spMkLst>
        </pc:spChg>
        <pc:spChg chg="mod">
          <ac:chgData name="Pushkar Admane" userId="fe3f8df7-1622-429f-ab36-7cc76201e871" providerId="ADAL" clId="{EB9BA360-7DDB-430C-BB39-75B2462019C5}" dt="2024-10-16T04:27:28.059" v="682" actId="164"/>
          <ac:spMkLst>
            <pc:docMk/>
            <pc:sldMk cId="1129706397" sldId="360"/>
            <ac:spMk id="13" creationId="{00000000-0000-0000-0000-000000000000}"/>
          </ac:spMkLst>
        </pc:spChg>
        <pc:spChg chg="mod">
          <ac:chgData name="Pushkar Admane" userId="fe3f8df7-1622-429f-ab36-7cc76201e871" providerId="ADAL" clId="{EB9BA360-7DDB-430C-BB39-75B2462019C5}" dt="2024-10-16T04:27:28.059" v="682" actId="164"/>
          <ac:spMkLst>
            <pc:docMk/>
            <pc:sldMk cId="1129706397" sldId="360"/>
            <ac:spMk id="14" creationId="{00000000-0000-0000-0000-000000000000}"/>
          </ac:spMkLst>
        </pc:spChg>
        <pc:spChg chg="mod">
          <ac:chgData name="Pushkar Admane" userId="fe3f8df7-1622-429f-ab36-7cc76201e871" providerId="ADAL" clId="{EB9BA360-7DDB-430C-BB39-75B2462019C5}" dt="2024-10-16T04:27:28.059" v="682" actId="164"/>
          <ac:spMkLst>
            <pc:docMk/>
            <pc:sldMk cId="1129706397" sldId="360"/>
            <ac:spMk id="15" creationId="{00000000-0000-0000-0000-000000000000}"/>
          </ac:spMkLst>
        </pc:spChg>
        <pc:spChg chg="mod">
          <ac:chgData name="Pushkar Admane" userId="fe3f8df7-1622-429f-ab36-7cc76201e871" providerId="ADAL" clId="{EB9BA360-7DDB-430C-BB39-75B2462019C5}" dt="2024-10-16T04:27:28.059" v="682" actId="164"/>
          <ac:spMkLst>
            <pc:docMk/>
            <pc:sldMk cId="1129706397" sldId="360"/>
            <ac:spMk id="16" creationId="{00000000-0000-0000-0000-000000000000}"/>
          </ac:spMkLst>
        </pc:spChg>
        <pc:spChg chg="mod">
          <ac:chgData name="Pushkar Admane" userId="fe3f8df7-1622-429f-ab36-7cc76201e871" providerId="ADAL" clId="{EB9BA360-7DDB-430C-BB39-75B2462019C5}" dt="2024-10-16T04:27:28.059" v="682" actId="164"/>
          <ac:spMkLst>
            <pc:docMk/>
            <pc:sldMk cId="1129706397" sldId="360"/>
            <ac:spMk id="17" creationId="{00000000-0000-0000-0000-000000000000}"/>
          </ac:spMkLst>
        </pc:spChg>
        <pc:spChg chg="mod">
          <ac:chgData name="Pushkar Admane" userId="fe3f8df7-1622-429f-ab36-7cc76201e871" providerId="ADAL" clId="{EB9BA360-7DDB-430C-BB39-75B2462019C5}" dt="2024-10-16T04:27:28.059" v="682" actId="164"/>
          <ac:spMkLst>
            <pc:docMk/>
            <pc:sldMk cId="1129706397" sldId="360"/>
            <ac:spMk id="18" creationId="{00000000-0000-0000-0000-000000000000}"/>
          </ac:spMkLst>
        </pc:spChg>
        <pc:spChg chg="mod">
          <ac:chgData name="Pushkar Admane" userId="fe3f8df7-1622-429f-ab36-7cc76201e871" providerId="ADAL" clId="{EB9BA360-7DDB-430C-BB39-75B2462019C5}" dt="2024-10-16T04:27:28.059" v="682" actId="164"/>
          <ac:spMkLst>
            <pc:docMk/>
            <pc:sldMk cId="1129706397" sldId="360"/>
            <ac:spMk id="19" creationId="{00000000-0000-0000-0000-000000000000}"/>
          </ac:spMkLst>
        </pc:spChg>
        <pc:spChg chg="mod">
          <ac:chgData name="Pushkar Admane" userId="fe3f8df7-1622-429f-ab36-7cc76201e871" providerId="ADAL" clId="{EB9BA360-7DDB-430C-BB39-75B2462019C5}" dt="2024-10-16T04:27:28.059" v="682" actId="164"/>
          <ac:spMkLst>
            <pc:docMk/>
            <pc:sldMk cId="1129706397" sldId="360"/>
            <ac:spMk id="20" creationId="{00000000-0000-0000-0000-000000000000}"/>
          </ac:spMkLst>
        </pc:spChg>
        <pc:spChg chg="mod">
          <ac:chgData name="Pushkar Admane" userId="fe3f8df7-1622-429f-ab36-7cc76201e871" providerId="ADAL" clId="{EB9BA360-7DDB-430C-BB39-75B2462019C5}" dt="2024-10-16T04:27:28.059" v="682" actId="164"/>
          <ac:spMkLst>
            <pc:docMk/>
            <pc:sldMk cId="1129706397" sldId="360"/>
            <ac:spMk id="21" creationId="{00000000-0000-0000-0000-000000000000}"/>
          </ac:spMkLst>
        </pc:spChg>
        <pc:spChg chg="mod">
          <ac:chgData name="Pushkar Admane" userId="fe3f8df7-1622-429f-ab36-7cc76201e871" providerId="ADAL" clId="{EB9BA360-7DDB-430C-BB39-75B2462019C5}" dt="2024-10-16T04:27:28.059" v="682" actId="164"/>
          <ac:spMkLst>
            <pc:docMk/>
            <pc:sldMk cId="1129706397" sldId="360"/>
            <ac:spMk id="22" creationId="{00000000-0000-0000-0000-000000000000}"/>
          </ac:spMkLst>
        </pc:spChg>
        <pc:spChg chg="mod">
          <ac:chgData name="Pushkar Admane" userId="fe3f8df7-1622-429f-ab36-7cc76201e871" providerId="ADAL" clId="{EB9BA360-7DDB-430C-BB39-75B2462019C5}" dt="2024-10-16T04:27:28.059" v="682" actId="164"/>
          <ac:spMkLst>
            <pc:docMk/>
            <pc:sldMk cId="1129706397" sldId="360"/>
            <ac:spMk id="23" creationId="{00000000-0000-0000-0000-000000000000}"/>
          </ac:spMkLst>
        </pc:spChg>
        <pc:spChg chg="mod">
          <ac:chgData name="Pushkar Admane" userId="fe3f8df7-1622-429f-ab36-7cc76201e871" providerId="ADAL" clId="{EB9BA360-7DDB-430C-BB39-75B2462019C5}" dt="2024-10-16T04:27:28.059" v="682" actId="164"/>
          <ac:spMkLst>
            <pc:docMk/>
            <pc:sldMk cId="1129706397" sldId="360"/>
            <ac:spMk id="24" creationId="{00000000-0000-0000-0000-000000000000}"/>
          </ac:spMkLst>
        </pc:spChg>
        <pc:spChg chg="mod">
          <ac:chgData name="Pushkar Admane" userId="fe3f8df7-1622-429f-ab36-7cc76201e871" providerId="ADAL" clId="{EB9BA360-7DDB-430C-BB39-75B2462019C5}" dt="2024-10-16T04:27:28.059" v="682" actId="164"/>
          <ac:spMkLst>
            <pc:docMk/>
            <pc:sldMk cId="1129706397" sldId="360"/>
            <ac:spMk id="25" creationId="{00000000-0000-0000-0000-000000000000}"/>
          </ac:spMkLst>
        </pc:spChg>
        <pc:spChg chg="mod">
          <ac:chgData name="Pushkar Admane" userId="fe3f8df7-1622-429f-ab36-7cc76201e871" providerId="ADAL" clId="{EB9BA360-7DDB-430C-BB39-75B2462019C5}" dt="2024-10-16T04:27:28.059" v="682" actId="164"/>
          <ac:spMkLst>
            <pc:docMk/>
            <pc:sldMk cId="1129706397" sldId="360"/>
            <ac:spMk id="26" creationId="{00000000-0000-0000-0000-000000000000}"/>
          </ac:spMkLst>
        </pc:spChg>
        <pc:spChg chg="mod">
          <ac:chgData name="Pushkar Admane" userId="fe3f8df7-1622-429f-ab36-7cc76201e871" providerId="ADAL" clId="{EB9BA360-7DDB-430C-BB39-75B2462019C5}" dt="2024-10-16T04:27:28.059" v="682" actId="164"/>
          <ac:spMkLst>
            <pc:docMk/>
            <pc:sldMk cId="1129706397" sldId="360"/>
            <ac:spMk id="27" creationId="{00000000-0000-0000-0000-000000000000}"/>
          </ac:spMkLst>
        </pc:spChg>
        <pc:spChg chg="mod">
          <ac:chgData name="Pushkar Admane" userId="fe3f8df7-1622-429f-ab36-7cc76201e871" providerId="ADAL" clId="{EB9BA360-7DDB-430C-BB39-75B2462019C5}" dt="2024-10-16T04:21:23.161" v="641" actId="1038"/>
          <ac:spMkLst>
            <pc:docMk/>
            <pc:sldMk cId="1129706397" sldId="360"/>
            <ac:spMk id="28" creationId="{00000000-0000-0000-0000-000000000000}"/>
          </ac:spMkLst>
        </pc:spChg>
        <pc:spChg chg="mod">
          <ac:chgData name="Pushkar Admane" userId="fe3f8df7-1622-429f-ab36-7cc76201e871" providerId="ADAL" clId="{EB9BA360-7DDB-430C-BB39-75B2462019C5}" dt="2024-10-16T04:29:57.249" v="697" actId="1035"/>
          <ac:spMkLst>
            <pc:docMk/>
            <pc:sldMk cId="1129706397" sldId="360"/>
            <ac:spMk id="29" creationId="{00000000-0000-0000-0000-000000000000}"/>
          </ac:spMkLst>
        </pc:spChg>
        <pc:spChg chg="add del mod">
          <ac:chgData name="Pushkar Admane" userId="fe3f8df7-1622-429f-ab36-7cc76201e871" providerId="ADAL" clId="{EB9BA360-7DDB-430C-BB39-75B2462019C5}" dt="2024-10-16T04:28:40.714" v="689" actId="478"/>
          <ac:spMkLst>
            <pc:docMk/>
            <pc:sldMk cId="1129706397" sldId="360"/>
            <ac:spMk id="31" creationId="{2C7D1E28-2332-DF4E-BDF3-F9AE40C242B3}"/>
          </ac:spMkLst>
        </pc:spChg>
        <pc:grpChg chg="mod">
          <ac:chgData name="Pushkar Admane" userId="fe3f8df7-1622-429f-ab36-7cc76201e871" providerId="ADAL" clId="{EB9BA360-7DDB-430C-BB39-75B2462019C5}" dt="2024-10-16T04:21:23.161" v="641" actId="1038"/>
          <ac:grpSpMkLst>
            <pc:docMk/>
            <pc:sldMk cId="1129706397" sldId="360"/>
            <ac:grpSpMk id="5" creationId="{00000000-0000-0000-0000-000000000000}"/>
          </ac:grpSpMkLst>
        </pc:grpChg>
        <pc:grpChg chg="add mod">
          <ac:chgData name="Pushkar Admane" userId="fe3f8df7-1622-429f-ab36-7cc76201e871" providerId="ADAL" clId="{EB9BA360-7DDB-430C-BB39-75B2462019C5}" dt="2024-10-16T04:27:34.246" v="683" actId="14100"/>
          <ac:grpSpMkLst>
            <pc:docMk/>
            <pc:sldMk cId="1129706397" sldId="360"/>
            <ac:grpSpMk id="30" creationId="{DE9DA1F0-6BFB-1C9A-7363-AC919F2376AB}"/>
          </ac:grpSpMkLst>
        </pc:grpChg>
      </pc:sldChg>
      <pc:sldChg chg="add">
        <pc:chgData name="Pushkar Admane" userId="fe3f8df7-1622-429f-ab36-7cc76201e871" providerId="ADAL" clId="{EB9BA360-7DDB-430C-BB39-75B2462019C5}" dt="2024-10-15T18:46:57.964" v="214"/>
        <pc:sldMkLst>
          <pc:docMk/>
          <pc:sldMk cId="2256641778" sldId="362"/>
        </pc:sldMkLst>
      </pc:sldChg>
      <pc:sldChg chg="ord">
        <pc:chgData name="Pushkar Admane" userId="fe3f8df7-1622-429f-ab36-7cc76201e871" providerId="ADAL" clId="{EB9BA360-7DDB-430C-BB39-75B2462019C5}" dt="2024-10-15T18:01:49.057" v="23"/>
        <pc:sldMkLst>
          <pc:docMk/>
          <pc:sldMk cId="0" sldId="874"/>
        </pc:sldMkLst>
      </pc:sldChg>
      <pc:sldChg chg="del ord">
        <pc:chgData name="Pushkar Admane" userId="fe3f8df7-1622-429f-ab36-7cc76201e871" providerId="ADAL" clId="{EB9BA360-7DDB-430C-BB39-75B2462019C5}" dt="2024-10-16T16:38:12.361" v="877" actId="2696"/>
        <pc:sldMkLst>
          <pc:docMk/>
          <pc:sldMk cId="0" sldId="1032"/>
        </pc:sldMkLst>
      </pc:sldChg>
      <pc:sldChg chg="modSp mod ord">
        <pc:chgData name="Pushkar Admane" userId="fe3f8df7-1622-429f-ab36-7cc76201e871" providerId="ADAL" clId="{EB9BA360-7DDB-430C-BB39-75B2462019C5}" dt="2024-10-16T16:33:15.731" v="851"/>
        <pc:sldMkLst>
          <pc:docMk/>
          <pc:sldMk cId="0" sldId="1033"/>
        </pc:sldMkLst>
        <pc:graphicFrameChg chg="modGraphic">
          <ac:chgData name="Pushkar Admane" userId="fe3f8df7-1622-429f-ab36-7cc76201e871" providerId="ADAL" clId="{EB9BA360-7DDB-430C-BB39-75B2462019C5}" dt="2024-10-15T18:34:51.629" v="163" actId="20577"/>
          <ac:graphicFrameMkLst>
            <pc:docMk/>
            <pc:sldMk cId="0" sldId="1033"/>
            <ac:graphicFrameMk id="3" creationId="{89EC63A9-A6F8-4327-8C80-07F25E34D7BC}"/>
          </ac:graphicFrameMkLst>
        </pc:graphicFrameChg>
      </pc:sldChg>
      <pc:sldChg chg="del">
        <pc:chgData name="Pushkar Admane" userId="fe3f8df7-1622-429f-ab36-7cc76201e871" providerId="ADAL" clId="{EB9BA360-7DDB-430C-BB39-75B2462019C5}" dt="2024-10-16T16:36:33.551" v="865" actId="2696"/>
        <pc:sldMkLst>
          <pc:docMk/>
          <pc:sldMk cId="3039508685" sldId="1039"/>
        </pc:sldMkLst>
      </pc:sldChg>
      <pc:sldChg chg="modSp mod ord">
        <pc:chgData name="Pushkar Admane" userId="fe3f8df7-1622-429f-ab36-7cc76201e871" providerId="ADAL" clId="{EB9BA360-7DDB-430C-BB39-75B2462019C5}" dt="2024-10-16T16:33:25.297" v="853"/>
        <pc:sldMkLst>
          <pc:docMk/>
          <pc:sldMk cId="2679499863" sldId="1056"/>
        </pc:sldMkLst>
        <pc:graphicFrameChg chg="modGraphic">
          <ac:chgData name="Pushkar Admane" userId="fe3f8df7-1622-429f-ab36-7cc76201e871" providerId="ADAL" clId="{EB9BA360-7DDB-430C-BB39-75B2462019C5}" dt="2024-10-15T18:35:14.198" v="201" actId="20577"/>
          <ac:graphicFrameMkLst>
            <pc:docMk/>
            <pc:sldMk cId="2679499863" sldId="1056"/>
            <ac:graphicFrameMk id="3" creationId="{89EC63A9-A6F8-4327-8C80-07F25E34D7BC}"/>
          </ac:graphicFrameMkLst>
        </pc:graphicFrameChg>
      </pc:sldChg>
      <pc:sldChg chg="addSp modSp mod ord modAnim">
        <pc:chgData name="Pushkar Admane" userId="fe3f8df7-1622-429f-ab36-7cc76201e871" providerId="ADAL" clId="{EB9BA360-7DDB-430C-BB39-75B2462019C5}" dt="2024-10-16T16:23:18.875" v="832"/>
        <pc:sldMkLst>
          <pc:docMk/>
          <pc:sldMk cId="4095461272" sldId="1065"/>
        </pc:sldMkLst>
        <pc:spChg chg="mod">
          <ac:chgData name="Pushkar Admane" userId="fe3f8df7-1622-429f-ab36-7cc76201e871" providerId="ADAL" clId="{EB9BA360-7DDB-430C-BB39-75B2462019C5}" dt="2024-10-16T03:53:27.070" v="403" actId="20577"/>
          <ac:spMkLst>
            <pc:docMk/>
            <pc:sldMk cId="4095461272" sldId="1065"/>
            <ac:spMk id="2" creationId="{06200C1B-4F9C-4CFE-9A19-B5495650676A}"/>
          </ac:spMkLst>
        </pc:spChg>
        <pc:spChg chg="add mod">
          <ac:chgData name="Pushkar Admane" userId="fe3f8df7-1622-429f-ab36-7cc76201e871" providerId="ADAL" clId="{EB9BA360-7DDB-430C-BB39-75B2462019C5}" dt="2024-10-16T04:03:37.494" v="477" actId="1076"/>
          <ac:spMkLst>
            <pc:docMk/>
            <pc:sldMk cId="4095461272" sldId="1065"/>
            <ac:spMk id="3" creationId="{311350F8-4748-3067-CDFB-FF2E649A13BE}"/>
          </ac:spMkLst>
        </pc:spChg>
        <pc:spChg chg="mod">
          <ac:chgData name="Pushkar Admane" userId="fe3f8df7-1622-429f-ab36-7cc76201e871" providerId="ADAL" clId="{EB9BA360-7DDB-430C-BB39-75B2462019C5}" dt="2024-10-16T03:57:30.535" v="418" actId="1076"/>
          <ac:spMkLst>
            <pc:docMk/>
            <pc:sldMk cId="4095461272" sldId="1065"/>
            <ac:spMk id="7" creationId="{A07D90FE-2423-4C4D-82B0-3E3FC5C3D037}"/>
          </ac:spMkLst>
        </pc:spChg>
        <pc:spChg chg="mod">
          <ac:chgData name="Pushkar Admane" userId="fe3f8df7-1622-429f-ab36-7cc76201e871" providerId="ADAL" clId="{EB9BA360-7DDB-430C-BB39-75B2462019C5}" dt="2024-10-16T03:57:30.535" v="418" actId="1076"/>
          <ac:spMkLst>
            <pc:docMk/>
            <pc:sldMk cId="4095461272" sldId="1065"/>
            <ac:spMk id="8" creationId="{ABB489A1-0634-475D-BB4F-47D453CF4319}"/>
          </ac:spMkLst>
        </pc:spChg>
        <pc:spChg chg="mod">
          <ac:chgData name="Pushkar Admane" userId="fe3f8df7-1622-429f-ab36-7cc76201e871" providerId="ADAL" clId="{EB9BA360-7DDB-430C-BB39-75B2462019C5}" dt="2024-10-16T03:57:30.535" v="418" actId="1076"/>
          <ac:spMkLst>
            <pc:docMk/>
            <pc:sldMk cId="4095461272" sldId="1065"/>
            <ac:spMk id="9" creationId="{3D0453DB-D1AE-407F-BB5B-19646DDC1181}"/>
          </ac:spMkLst>
        </pc:spChg>
        <pc:graphicFrameChg chg="mod">
          <ac:chgData name="Pushkar Admane" userId="fe3f8df7-1622-429f-ab36-7cc76201e871" providerId="ADAL" clId="{EB9BA360-7DDB-430C-BB39-75B2462019C5}" dt="2024-10-16T03:56:57.544" v="411" actId="1076"/>
          <ac:graphicFrameMkLst>
            <pc:docMk/>
            <pc:sldMk cId="4095461272" sldId="1065"/>
            <ac:graphicFrameMk id="6" creationId="{9356B6C9-6DEA-4635-8262-BDA1F787F647}"/>
          </ac:graphicFrameMkLst>
        </pc:graphicFrameChg>
      </pc:sldChg>
      <pc:sldChg chg="del">
        <pc:chgData name="Pushkar Admane" userId="fe3f8df7-1622-429f-ab36-7cc76201e871" providerId="ADAL" clId="{EB9BA360-7DDB-430C-BB39-75B2462019C5}" dt="2024-10-16T16:37:35.529" v="876" actId="2696"/>
        <pc:sldMkLst>
          <pc:docMk/>
          <pc:sldMk cId="2889390157" sldId="1066"/>
        </pc:sldMkLst>
      </pc:sldChg>
      <pc:sldChg chg="addSp delSp modSp del mod ord modAnim">
        <pc:chgData name="Pushkar Admane" userId="fe3f8df7-1622-429f-ab36-7cc76201e871" providerId="ADAL" clId="{EB9BA360-7DDB-430C-BB39-75B2462019C5}" dt="2024-10-16T18:19:48.601" v="1606" actId="47"/>
        <pc:sldMkLst>
          <pc:docMk/>
          <pc:sldMk cId="1327853097" sldId="1067"/>
        </pc:sldMkLst>
        <pc:spChg chg="add mod">
          <ac:chgData name="Pushkar Admane" userId="fe3f8df7-1622-429f-ab36-7cc76201e871" providerId="ADAL" clId="{EB9BA360-7DDB-430C-BB39-75B2462019C5}" dt="2024-10-16T04:11:15.722" v="527" actId="1035"/>
          <ac:spMkLst>
            <pc:docMk/>
            <pc:sldMk cId="1327853097" sldId="1067"/>
            <ac:spMk id="3" creationId="{3B5C751D-5780-BFD3-BD1C-D9FAFDDF4375}"/>
          </ac:spMkLst>
        </pc:spChg>
        <pc:spChg chg="del mod">
          <ac:chgData name="Pushkar Admane" userId="fe3f8df7-1622-429f-ab36-7cc76201e871" providerId="ADAL" clId="{EB9BA360-7DDB-430C-BB39-75B2462019C5}" dt="2024-10-16T18:09:15.406" v="1517" actId="478"/>
          <ac:spMkLst>
            <pc:docMk/>
            <pc:sldMk cId="1327853097" sldId="1067"/>
            <ac:spMk id="5" creationId="{12D92BF9-46A7-4404-8CC7-ADC32DE17AB6}"/>
          </ac:spMkLst>
        </pc:spChg>
        <pc:spChg chg="del mod">
          <ac:chgData name="Pushkar Admane" userId="fe3f8df7-1622-429f-ab36-7cc76201e871" providerId="ADAL" clId="{EB9BA360-7DDB-430C-BB39-75B2462019C5}" dt="2024-10-16T04:10:53.232" v="519" actId="478"/>
          <ac:spMkLst>
            <pc:docMk/>
            <pc:sldMk cId="1327853097" sldId="1067"/>
            <ac:spMk id="9" creationId="{4B2C307E-CA55-40BE-BE95-38F582ADEEB0}"/>
          </ac:spMkLst>
        </pc:spChg>
        <pc:graphicFrameChg chg="mod">
          <ac:chgData name="Pushkar Admane" userId="fe3f8df7-1622-429f-ab36-7cc76201e871" providerId="ADAL" clId="{EB9BA360-7DDB-430C-BB39-75B2462019C5}" dt="2024-10-16T04:15:04.878" v="564" actId="207"/>
          <ac:graphicFrameMkLst>
            <pc:docMk/>
            <pc:sldMk cId="1327853097" sldId="1067"/>
            <ac:graphicFrameMk id="4" creationId="{170C1937-AE39-4FE4-9F41-7EF9C46F52C7}"/>
          </ac:graphicFrameMkLst>
        </pc:graphicFrameChg>
      </pc:sldChg>
      <pc:sldChg chg="del">
        <pc:chgData name="Pushkar Admane" userId="fe3f8df7-1622-429f-ab36-7cc76201e871" providerId="ADAL" clId="{EB9BA360-7DDB-430C-BB39-75B2462019C5}" dt="2024-10-16T03:49:01.684" v="348" actId="47"/>
        <pc:sldMkLst>
          <pc:docMk/>
          <pc:sldMk cId="1556741190" sldId="1072"/>
        </pc:sldMkLst>
      </pc:sldChg>
      <pc:sldChg chg="addSp delSp modSp mod ord setBg">
        <pc:chgData name="Pushkar Admane" userId="fe3f8df7-1622-429f-ab36-7cc76201e871" providerId="ADAL" clId="{EB9BA360-7DDB-430C-BB39-75B2462019C5}" dt="2024-10-16T18:19:31.109" v="1605" actId="122"/>
        <pc:sldMkLst>
          <pc:docMk/>
          <pc:sldMk cId="2764402273" sldId="1073"/>
        </pc:sldMkLst>
        <pc:spChg chg="mod">
          <ac:chgData name="Pushkar Admane" userId="fe3f8df7-1622-429f-ab36-7cc76201e871" providerId="ADAL" clId="{EB9BA360-7DDB-430C-BB39-75B2462019C5}" dt="2024-10-16T18:19:31.109" v="1605" actId="122"/>
          <ac:spMkLst>
            <pc:docMk/>
            <pc:sldMk cId="2764402273" sldId="1073"/>
            <ac:spMk id="2" creationId="{00000000-0000-0000-0000-000000000000}"/>
          </ac:spMkLst>
        </pc:spChg>
        <pc:spChg chg="mod">
          <ac:chgData name="Pushkar Admane" userId="fe3f8df7-1622-429f-ab36-7cc76201e871" providerId="ADAL" clId="{EB9BA360-7DDB-430C-BB39-75B2462019C5}" dt="2024-10-16T18:19:19.336" v="1603" actId="26606"/>
          <ac:spMkLst>
            <pc:docMk/>
            <pc:sldMk cId="2764402273" sldId="1073"/>
            <ac:spMk id="3" creationId="{00000000-0000-0000-0000-000000000000}"/>
          </ac:spMkLst>
        </pc:spChg>
        <pc:spChg chg="del">
          <ac:chgData name="Pushkar Admane" userId="fe3f8df7-1622-429f-ab36-7cc76201e871" providerId="ADAL" clId="{EB9BA360-7DDB-430C-BB39-75B2462019C5}" dt="2024-10-16T18:16:18.164" v="1546" actId="478"/>
          <ac:spMkLst>
            <pc:docMk/>
            <pc:sldMk cId="2764402273" sldId="1073"/>
            <ac:spMk id="5" creationId="{822E0504-8E39-4448-A4B6-23ED721A9230}"/>
          </ac:spMkLst>
        </pc:spChg>
        <pc:spChg chg="add del">
          <ac:chgData name="Pushkar Admane" userId="fe3f8df7-1622-429f-ab36-7cc76201e871" providerId="ADAL" clId="{EB9BA360-7DDB-430C-BB39-75B2462019C5}" dt="2024-10-16T18:19:19.315" v="1602" actId="26606"/>
          <ac:spMkLst>
            <pc:docMk/>
            <pc:sldMk cId="2764402273" sldId="1073"/>
            <ac:spMk id="8" creationId="{777A147A-9ED8-46B4-8660-1B3C2AA880B5}"/>
          </ac:spMkLst>
        </pc:spChg>
        <pc:spChg chg="add del">
          <ac:chgData name="Pushkar Admane" userId="fe3f8df7-1622-429f-ab36-7cc76201e871" providerId="ADAL" clId="{EB9BA360-7DDB-430C-BB39-75B2462019C5}" dt="2024-10-16T18:19:19.315" v="1602" actId="26606"/>
          <ac:spMkLst>
            <pc:docMk/>
            <pc:sldMk cId="2764402273" sldId="1073"/>
            <ac:spMk id="10" creationId="{5D6C15A0-C087-4593-8414-2B4EC1CDC3DE}"/>
          </ac:spMkLst>
        </pc:spChg>
        <pc:spChg chg="add">
          <ac:chgData name="Pushkar Admane" userId="fe3f8df7-1622-429f-ab36-7cc76201e871" providerId="ADAL" clId="{EB9BA360-7DDB-430C-BB39-75B2462019C5}" dt="2024-10-16T18:19:19.336" v="1603" actId="26606"/>
          <ac:spMkLst>
            <pc:docMk/>
            <pc:sldMk cId="2764402273" sldId="1073"/>
            <ac:spMk id="12" creationId="{100EDD19-6802-4EC3-95CE-CFFAB042CFD6}"/>
          </ac:spMkLst>
        </pc:spChg>
        <pc:spChg chg="add">
          <ac:chgData name="Pushkar Admane" userId="fe3f8df7-1622-429f-ab36-7cc76201e871" providerId="ADAL" clId="{EB9BA360-7DDB-430C-BB39-75B2462019C5}" dt="2024-10-16T18:19:19.336" v="1603" actId="26606"/>
          <ac:spMkLst>
            <pc:docMk/>
            <pc:sldMk cId="2764402273" sldId="1073"/>
            <ac:spMk id="13" creationId="{DB17E863-922E-4C26-BD64-E8FD41D28661}"/>
          </ac:spMkLst>
        </pc:spChg>
      </pc:sldChg>
      <pc:sldChg chg="del">
        <pc:chgData name="Pushkar Admane" userId="fe3f8df7-1622-429f-ab36-7cc76201e871" providerId="ADAL" clId="{EB9BA360-7DDB-430C-BB39-75B2462019C5}" dt="2024-10-16T16:36:04.072" v="858" actId="2696"/>
        <pc:sldMkLst>
          <pc:docMk/>
          <pc:sldMk cId="1150529778" sldId="1250"/>
        </pc:sldMkLst>
      </pc:sldChg>
      <pc:sldChg chg="del">
        <pc:chgData name="Pushkar Admane" userId="fe3f8df7-1622-429f-ab36-7cc76201e871" providerId="ADAL" clId="{EB9BA360-7DDB-430C-BB39-75B2462019C5}" dt="2024-10-16T16:36:13.037" v="860" actId="2696"/>
        <pc:sldMkLst>
          <pc:docMk/>
          <pc:sldMk cId="1885435374" sldId="1251"/>
        </pc:sldMkLst>
      </pc:sldChg>
      <pc:sldChg chg="del">
        <pc:chgData name="Pushkar Admane" userId="fe3f8df7-1622-429f-ab36-7cc76201e871" providerId="ADAL" clId="{EB9BA360-7DDB-430C-BB39-75B2462019C5}" dt="2024-10-16T16:36:16.757" v="861" actId="2696"/>
        <pc:sldMkLst>
          <pc:docMk/>
          <pc:sldMk cId="2313023207" sldId="1252"/>
        </pc:sldMkLst>
      </pc:sldChg>
      <pc:sldChg chg="del">
        <pc:chgData name="Pushkar Admane" userId="fe3f8df7-1622-429f-ab36-7cc76201e871" providerId="ADAL" clId="{EB9BA360-7DDB-430C-BB39-75B2462019C5}" dt="2024-10-16T16:36:20.653" v="862" actId="2696"/>
        <pc:sldMkLst>
          <pc:docMk/>
          <pc:sldMk cId="3279065621" sldId="1253"/>
        </pc:sldMkLst>
      </pc:sldChg>
      <pc:sldChg chg="del">
        <pc:chgData name="Pushkar Admane" userId="fe3f8df7-1622-429f-ab36-7cc76201e871" providerId="ADAL" clId="{EB9BA360-7DDB-430C-BB39-75B2462019C5}" dt="2024-10-16T16:36:23.653" v="863" actId="2696"/>
        <pc:sldMkLst>
          <pc:docMk/>
          <pc:sldMk cId="1282478411" sldId="1254"/>
        </pc:sldMkLst>
      </pc:sldChg>
      <pc:sldChg chg="del">
        <pc:chgData name="Pushkar Admane" userId="fe3f8df7-1622-429f-ab36-7cc76201e871" providerId="ADAL" clId="{EB9BA360-7DDB-430C-BB39-75B2462019C5}" dt="2024-10-16T16:36:26.640" v="864" actId="2696"/>
        <pc:sldMkLst>
          <pc:docMk/>
          <pc:sldMk cId="773781895" sldId="1255"/>
        </pc:sldMkLst>
      </pc:sldChg>
      <pc:sldChg chg="del">
        <pc:chgData name="Pushkar Admane" userId="fe3f8df7-1622-429f-ab36-7cc76201e871" providerId="ADAL" clId="{EB9BA360-7DDB-430C-BB39-75B2462019C5}" dt="2024-10-16T16:36:37.543" v="866" actId="2696"/>
        <pc:sldMkLst>
          <pc:docMk/>
          <pc:sldMk cId="414218929" sldId="1256"/>
        </pc:sldMkLst>
      </pc:sldChg>
      <pc:sldChg chg="del">
        <pc:chgData name="Pushkar Admane" userId="fe3f8df7-1622-429f-ab36-7cc76201e871" providerId="ADAL" clId="{EB9BA360-7DDB-430C-BB39-75B2462019C5}" dt="2024-10-16T16:36:41.172" v="867" actId="2696"/>
        <pc:sldMkLst>
          <pc:docMk/>
          <pc:sldMk cId="3802468622" sldId="1257"/>
        </pc:sldMkLst>
      </pc:sldChg>
      <pc:sldChg chg="del">
        <pc:chgData name="Pushkar Admane" userId="fe3f8df7-1622-429f-ab36-7cc76201e871" providerId="ADAL" clId="{EB9BA360-7DDB-430C-BB39-75B2462019C5}" dt="2024-10-16T16:36:44.676" v="868" actId="2696"/>
        <pc:sldMkLst>
          <pc:docMk/>
          <pc:sldMk cId="1907822743" sldId="1258"/>
        </pc:sldMkLst>
      </pc:sldChg>
      <pc:sldChg chg="del">
        <pc:chgData name="Pushkar Admane" userId="fe3f8df7-1622-429f-ab36-7cc76201e871" providerId="ADAL" clId="{EB9BA360-7DDB-430C-BB39-75B2462019C5}" dt="2024-10-16T16:36:48.623" v="869" actId="2696"/>
        <pc:sldMkLst>
          <pc:docMk/>
          <pc:sldMk cId="2579784068" sldId="1259"/>
        </pc:sldMkLst>
      </pc:sldChg>
      <pc:sldChg chg="del">
        <pc:chgData name="Pushkar Admane" userId="fe3f8df7-1622-429f-ab36-7cc76201e871" providerId="ADAL" clId="{EB9BA360-7DDB-430C-BB39-75B2462019C5}" dt="2024-10-16T16:36:52.870" v="870" actId="2696"/>
        <pc:sldMkLst>
          <pc:docMk/>
          <pc:sldMk cId="1091858301" sldId="1260"/>
        </pc:sldMkLst>
      </pc:sldChg>
      <pc:sldChg chg="del">
        <pc:chgData name="Pushkar Admane" userId="fe3f8df7-1622-429f-ab36-7cc76201e871" providerId="ADAL" clId="{EB9BA360-7DDB-430C-BB39-75B2462019C5}" dt="2024-10-16T16:36:56.692" v="871" actId="2696"/>
        <pc:sldMkLst>
          <pc:docMk/>
          <pc:sldMk cId="4214445515" sldId="1261"/>
        </pc:sldMkLst>
      </pc:sldChg>
      <pc:sldChg chg="del">
        <pc:chgData name="Pushkar Admane" userId="fe3f8df7-1622-429f-ab36-7cc76201e871" providerId="ADAL" clId="{EB9BA360-7DDB-430C-BB39-75B2462019C5}" dt="2024-10-16T16:38:42.036" v="885" actId="2696"/>
        <pc:sldMkLst>
          <pc:docMk/>
          <pc:sldMk cId="292169432" sldId="1262"/>
        </pc:sldMkLst>
      </pc:sldChg>
      <pc:sldChg chg="ord">
        <pc:chgData name="Pushkar Admane" userId="fe3f8df7-1622-429f-ab36-7cc76201e871" providerId="ADAL" clId="{EB9BA360-7DDB-430C-BB39-75B2462019C5}" dt="2024-10-16T16:23:23.867" v="834"/>
        <pc:sldMkLst>
          <pc:docMk/>
          <pc:sldMk cId="2410201726" sldId="1263"/>
        </pc:sldMkLst>
      </pc:sldChg>
      <pc:sldChg chg="del ord">
        <pc:chgData name="Pushkar Admane" userId="fe3f8df7-1622-429f-ab36-7cc76201e871" providerId="ADAL" clId="{EB9BA360-7DDB-430C-BB39-75B2462019C5}" dt="2024-10-16T16:38:20.806" v="879" actId="2696"/>
        <pc:sldMkLst>
          <pc:docMk/>
          <pc:sldMk cId="221492825" sldId="1264"/>
        </pc:sldMkLst>
      </pc:sldChg>
      <pc:sldChg chg="del">
        <pc:chgData name="Pushkar Admane" userId="fe3f8df7-1622-429f-ab36-7cc76201e871" providerId="ADAL" clId="{EB9BA360-7DDB-430C-BB39-75B2462019C5}" dt="2024-10-16T16:38:24.791" v="880" actId="2696"/>
        <pc:sldMkLst>
          <pc:docMk/>
          <pc:sldMk cId="4073846457" sldId="1265"/>
        </pc:sldMkLst>
      </pc:sldChg>
      <pc:sldChg chg="del">
        <pc:chgData name="Pushkar Admane" userId="fe3f8df7-1622-429f-ab36-7cc76201e871" providerId="ADAL" clId="{EB9BA360-7DDB-430C-BB39-75B2462019C5}" dt="2024-10-16T16:38:28.311" v="881" actId="2696"/>
        <pc:sldMkLst>
          <pc:docMk/>
          <pc:sldMk cId="388726911" sldId="1266"/>
        </pc:sldMkLst>
      </pc:sldChg>
      <pc:sldChg chg="del">
        <pc:chgData name="Pushkar Admane" userId="fe3f8df7-1622-429f-ab36-7cc76201e871" providerId="ADAL" clId="{EB9BA360-7DDB-430C-BB39-75B2462019C5}" dt="2024-10-16T16:38:31.254" v="882" actId="2696"/>
        <pc:sldMkLst>
          <pc:docMk/>
          <pc:sldMk cId="2385617233" sldId="1267"/>
        </pc:sldMkLst>
      </pc:sldChg>
      <pc:sldChg chg="del">
        <pc:chgData name="Pushkar Admane" userId="fe3f8df7-1622-429f-ab36-7cc76201e871" providerId="ADAL" clId="{EB9BA360-7DDB-430C-BB39-75B2462019C5}" dt="2024-10-16T16:38:34.893" v="883" actId="2696"/>
        <pc:sldMkLst>
          <pc:docMk/>
          <pc:sldMk cId="3649958616" sldId="1268"/>
        </pc:sldMkLst>
      </pc:sldChg>
      <pc:sldChg chg="del">
        <pc:chgData name="Pushkar Admane" userId="fe3f8df7-1622-429f-ab36-7cc76201e871" providerId="ADAL" clId="{EB9BA360-7DDB-430C-BB39-75B2462019C5}" dt="2024-10-16T16:38:38.772" v="884" actId="2696"/>
        <pc:sldMkLst>
          <pc:docMk/>
          <pc:sldMk cId="1300988441" sldId="1269"/>
        </pc:sldMkLst>
      </pc:sldChg>
      <pc:sldChg chg="modSp mod ord modAnim">
        <pc:chgData name="Pushkar Admane" userId="fe3f8df7-1622-429f-ab36-7cc76201e871" providerId="ADAL" clId="{EB9BA360-7DDB-430C-BB39-75B2462019C5}" dt="2024-10-16T04:19:12.276" v="576"/>
        <pc:sldMkLst>
          <pc:docMk/>
          <pc:sldMk cId="2028519156" sldId="1270"/>
        </pc:sldMkLst>
        <pc:spChg chg="mod">
          <ac:chgData name="Pushkar Admane" userId="fe3f8df7-1622-429f-ab36-7cc76201e871" providerId="ADAL" clId="{EB9BA360-7DDB-430C-BB39-75B2462019C5}" dt="2024-10-16T04:18:38.002" v="573" actId="122"/>
          <ac:spMkLst>
            <pc:docMk/>
            <pc:sldMk cId="2028519156" sldId="1270"/>
            <ac:spMk id="7" creationId="{F4CABCA2-F190-428F-9353-2362F18C7A56}"/>
          </ac:spMkLst>
        </pc:spChg>
      </pc:sldChg>
      <pc:sldChg chg="ord">
        <pc:chgData name="Pushkar Admane" userId="fe3f8df7-1622-429f-ab36-7cc76201e871" providerId="ADAL" clId="{EB9BA360-7DDB-430C-BB39-75B2462019C5}" dt="2024-10-15T18:02:12.069" v="25"/>
        <pc:sldMkLst>
          <pc:docMk/>
          <pc:sldMk cId="3879148725" sldId="1271"/>
        </pc:sldMkLst>
      </pc:sldChg>
      <pc:sldChg chg="ord">
        <pc:chgData name="Pushkar Admane" userId="fe3f8df7-1622-429f-ab36-7cc76201e871" providerId="ADAL" clId="{EB9BA360-7DDB-430C-BB39-75B2462019C5}" dt="2024-10-15T18:02:35.487" v="27"/>
        <pc:sldMkLst>
          <pc:docMk/>
          <pc:sldMk cId="3417350545" sldId="1272"/>
        </pc:sldMkLst>
      </pc:sldChg>
      <pc:sldChg chg="ord">
        <pc:chgData name="Pushkar Admane" userId="fe3f8df7-1622-429f-ab36-7cc76201e871" providerId="ADAL" clId="{EB9BA360-7DDB-430C-BB39-75B2462019C5}" dt="2024-10-15T18:03:05.720" v="29"/>
        <pc:sldMkLst>
          <pc:docMk/>
          <pc:sldMk cId="4290546566" sldId="1273"/>
        </pc:sldMkLst>
      </pc:sldChg>
      <pc:sldChg chg="ord">
        <pc:chgData name="Pushkar Admane" userId="fe3f8df7-1622-429f-ab36-7cc76201e871" providerId="ADAL" clId="{EB9BA360-7DDB-430C-BB39-75B2462019C5}" dt="2024-10-15T18:06:23.017" v="31"/>
        <pc:sldMkLst>
          <pc:docMk/>
          <pc:sldMk cId="1898473550" sldId="1274"/>
        </pc:sldMkLst>
      </pc:sldChg>
      <pc:sldChg chg="modSp ord">
        <pc:chgData name="Pushkar Admane" userId="fe3f8df7-1622-429f-ab36-7cc76201e871" providerId="ADAL" clId="{EB9BA360-7DDB-430C-BB39-75B2462019C5}" dt="2024-10-16T18:25:07.954" v="1639" actId="20577"/>
        <pc:sldMkLst>
          <pc:docMk/>
          <pc:sldMk cId="3135115816" sldId="1275"/>
        </pc:sldMkLst>
        <pc:graphicFrameChg chg="mod">
          <ac:chgData name="Pushkar Admane" userId="fe3f8df7-1622-429f-ab36-7cc76201e871" providerId="ADAL" clId="{EB9BA360-7DDB-430C-BB39-75B2462019C5}" dt="2024-10-16T18:25:07.954" v="1639" actId="20577"/>
          <ac:graphicFrameMkLst>
            <pc:docMk/>
            <pc:sldMk cId="3135115816" sldId="1275"/>
            <ac:graphicFrameMk id="3" creationId="{BA57C2B3-A361-4BCE-960C-F2B563EE1634}"/>
          </ac:graphicFrameMkLst>
        </pc:graphicFrameChg>
      </pc:sldChg>
      <pc:sldChg chg="ord">
        <pc:chgData name="Pushkar Admane" userId="fe3f8df7-1622-429f-ab36-7cc76201e871" providerId="ADAL" clId="{EB9BA360-7DDB-430C-BB39-75B2462019C5}" dt="2024-10-15T18:08:56.912" v="39"/>
        <pc:sldMkLst>
          <pc:docMk/>
          <pc:sldMk cId="1364157673" sldId="1276"/>
        </pc:sldMkLst>
      </pc:sldChg>
      <pc:sldChg chg="ord">
        <pc:chgData name="Pushkar Admane" userId="fe3f8df7-1622-429f-ab36-7cc76201e871" providerId="ADAL" clId="{EB9BA360-7DDB-430C-BB39-75B2462019C5}" dt="2024-10-16T16:23:31.048" v="836"/>
        <pc:sldMkLst>
          <pc:docMk/>
          <pc:sldMk cId="943130935" sldId="1277"/>
        </pc:sldMkLst>
      </pc:sldChg>
      <pc:sldChg chg="ord">
        <pc:chgData name="Pushkar Admane" userId="fe3f8df7-1622-429f-ab36-7cc76201e871" providerId="ADAL" clId="{EB9BA360-7DDB-430C-BB39-75B2462019C5}" dt="2024-10-16T16:23:40.978" v="838"/>
        <pc:sldMkLst>
          <pc:docMk/>
          <pc:sldMk cId="3266197458" sldId="1278"/>
        </pc:sldMkLst>
      </pc:sldChg>
      <pc:sldChg chg="del ord modAnim">
        <pc:chgData name="Pushkar Admane" userId="fe3f8df7-1622-429f-ab36-7cc76201e871" providerId="ADAL" clId="{EB9BA360-7DDB-430C-BB39-75B2462019C5}" dt="2024-10-16T16:24:22.968" v="841" actId="2696"/>
        <pc:sldMkLst>
          <pc:docMk/>
          <pc:sldMk cId="1498791760" sldId="1279"/>
        </pc:sldMkLst>
      </pc:sldChg>
      <pc:sldChg chg="new del">
        <pc:chgData name="Pushkar Admane" userId="fe3f8df7-1622-429f-ab36-7cc76201e871" providerId="ADAL" clId="{EB9BA360-7DDB-430C-BB39-75B2462019C5}" dt="2024-10-16T16:38:16.697" v="878" actId="2696"/>
        <pc:sldMkLst>
          <pc:docMk/>
          <pc:sldMk cId="2663138754" sldId="1280"/>
        </pc:sldMkLst>
      </pc:sldChg>
      <pc:sldChg chg="modSp add del mod">
        <pc:chgData name="Pushkar Admane" userId="fe3f8df7-1622-429f-ab36-7cc76201e871" providerId="ADAL" clId="{EB9BA360-7DDB-430C-BB39-75B2462019C5}" dt="2024-10-16T17:38:25.861" v="1309" actId="47"/>
        <pc:sldMkLst>
          <pc:docMk/>
          <pc:sldMk cId="535770781" sldId="1281"/>
        </pc:sldMkLst>
        <pc:spChg chg="mod">
          <ac:chgData name="Pushkar Admane" userId="fe3f8df7-1622-429f-ab36-7cc76201e871" providerId="ADAL" clId="{EB9BA360-7DDB-430C-BB39-75B2462019C5}" dt="2024-10-15T18:50:28.027" v="216" actId="27636"/>
          <ac:spMkLst>
            <pc:docMk/>
            <pc:sldMk cId="535770781" sldId="1281"/>
            <ac:spMk id="5" creationId="{6898078A-F7D7-4E56-A29D-98C3B7FD53ED}"/>
          </ac:spMkLst>
        </pc:spChg>
      </pc:sldChg>
      <pc:sldChg chg="modSp add del mod">
        <pc:chgData name="Pushkar Admane" userId="fe3f8df7-1622-429f-ab36-7cc76201e871" providerId="ADAL" clId="{EB9BA360-7DDB-430C-BB39-75B2462019C5}" dt="2024-10-16T17:38:23.483" v="1308" actId="47"/>
        <pc:sldMkLst>
          <pc:docMk/>
          <pc:sldMk cId="532747959" sldId="1282"/>
        </pc:sldMkLst>
        <pc:spChg chg="mod">
          <ac:chgData name="Pushkar Admane" userId="fe3f8df7-1622-429f-ab36-7cc76201e871" providerId="ADAL" clId="{EB9BA360-7DDB-430C-BB39-75B2462019C5}" dt="2024-10-15T18:52:15.568" v="220" actId="27636"/>
          <ac:spMkLst>
            <pc:docMk/>
            <pc:sldMk cId="532747959" sldId="1282"/>
            <ac:spMk id="3" creationId="{CD4C01F8-75DE-4622-90D2-59030EDF980B}"/>
          </ac:spMkLst>
        </pc:spChg>
      </pc:sldChg>
      <pc:sldChg chg="add ord">
        <pc:chgData name="Pushkar Admane" userId="fe3f8df7-1622-429f-ab36-7cc76201e871" providerId="ADAL" clId="{EB9BA360-7DDB-430C-BB39-75B2462019C5}" dt="2024-10-16T16:32:21.442" v="848"/>
        <pc:sldMkLst>
          <pc:docMk/>
          <pc:sldMk cId="2887207810" sldId="1283"/>
        </pc:sldMkLst>
      </pc:sldChg>
      <pc:sldChg chg="addSp modSp new del mod">
        <pc:chgData name="Pushkar Admane" userId="fe3f8df7-1622-429f-ab36-7cc76201e871" providerId="ADAL" clId="{EB9BA360-7DDB-430C-BB39-75B2462019C5}" dt="2024-10-16T17:38:19.986" v="1306" actId="47"/>
        <pc:sldMkLst>
          <pc:docMk/>
          <pc:sldMk cId="3432102079" sldId="1284"/>
        </pc:sldMkLst>
        <pc:spChg chg="mod">
          <ac:chgData name="Pushkar Admane" userId="fe3f8df7-1622-429f-ab36-7cc76201e871" providerId="ADAL" clId="{EB9BA360-7DDB-430C-BB39-75B2462019C5}" dt="2024-10-15T19:00:26.731" v="224"/>
          <ac:spMkLst>
            <pc:docMk/>
            <pc:sldMk cId="3432102079" sldId="1284"/>
            <ac:spMk id="3" creationId="{378301A2-6B62-0345-6F68-5E7B7929DA99}"/>
          </ac:spMkLst>
        </pc:spChg>
        <pc:graphicFrameChg chg="add mod">
          <ac:chgData name="Pushkar Admane" userId="fe3f8df7-1622-429f-ab36-7cc76201e871" providerId="ADAL" clId="{EB9BA360-7DDB-430C-BB39-75B2462019C5}" dt="2024-10-15T19:02:39.692" v="226"/>
          <ac:graphicFrameMkLst>
            <pc:docMk/>
            <pc:sldMk cId="3432102079" sldId="1284"/>
            <ac:graphicFrameMk id="4" creationId="{A9B33F0B-44D1-449B-8EFF-025330D07EDA}"/>
          </ac:graphicFrameMkLst>
        </pc:graphicFrameChg>
      </pc:sldChg>
      <pc:sldChg chg="addSp modSp new del mod">
        <pc:chgData name="Pushkar Admane" userId="fe3f8df7-1622-429f-ab36-7cc76201e871" providerId="ADAL" clId="{EB9BA360-7DDB-430C-BB39-75B2462019C5}" dt="2024-10-16T16:32:39.122" v="849" actId="2696"/>
        <pc:sldMkLst>
          <pc:docMk/>
          <pc:sldMk cId="3883086078" sldId="1285"/>
        </pc:sldMkLst>
        <pc:spChg chg="mod">
          <ac:chgData name="Pushkar Admane" userId="fe3f8df7-1622-429f-ab36-7cc76201e871" providerId="ADAL" clId="{EB9BA360-7DDB-430C-BB39-75B2462019C5}" dt="2024-10-15T19:03:24.977" v="229"/>
          <ac:spMkLst>
            <pc:docMk/>
            <pc:sldMk cId="3883086078" sldId="1285"/>
            <ac:spMk id="2" creationId="{F50625F3-39D8-4412-BAAA-77DC7C137AF0}"/>
          </ac:spMkLst>
        </pc:spChg>
        <pc:graphicFrameChg chg="add mod">
          <ac:chgData name="Pushkar Admane" userId="fe3f8df7-1622-429f-ab36-7cc76201e871" providerId="ADAL" clId="{EB9BA360-7DDB-430C-BB39-75B2462019C5}" dt="2024-10-15T19:02:48.895" v="228"/>
          <ac:graphicFrameMkLst>
            <pc:docMk/>
            <pc:sldMk cId="3883086078" sldId="1285"/>
            <ac:graphicFrameMk id="4" creationId="{A9B33F0B-44D1-449B-8EFF-025330D07EDA}"/>
          </ac:graphicFrameMkLst>
        </pc:graphicFrameChg>
      </pc:sldChg>
      <pc:sldChg chg="add ord">
        <pc:chgData name="Pushkar Admane" userId="fe3f8df7-1622-429f-ab36-7cc76201e871" providerId="ADAL" clId="{EB9BA360-7DDB-430C-BB39-75B2462019C5}" dt="2024-10-16T16:34:09.454" v="855"/>
        <pc:sldMkLst>
          <pc:docMk/>
          <pc:sldMk cId="0" sldId="1286"/>
        </pc:sldMkLst>
      </pc:sldChg>
      <pc:sldChg chg="addSp delSp modSp new del">
        <pc:chgData name="Pushkar Admane" userId="fe3f8df7-1622-429f-ab36-7cc76201e871" providerId="ADAL" clId="{EB9BA360-7DDB-430C-BB39-75B2462019C5}" dt="2024-10-16T16:37:00.698" v="872" actId="2696"/>
        <pc:sldMkLst>
          <pc:docMk/>
          <pc:sldMk cId="3482551921" sldId="1287"/>
        </pc:sldMkLst>
        <pc:spChg chg="add del">
          <ac:chgData name="Pushkar Admane" userId="fe3f8df7-1622-429f-ab36-7cc76201e871" providerId="ADAL" clId="{EB9BA360-7DDB-430C-BB39-75B2462019C5}" dt="2024-10-15T19:33:45.078" v="234"/>
          <ac:spMkLst>
            <pc:docMk/>
            <pc:sldMk cId="3482551921" sldId="1287"/>
            <ac:spMk id="3" creationId="{A1454723-61FE-F2B8-C732-19493E6A7137}"/>
          </ac:spMkLst>
        </pc:spChg>
        <pc:spChg chg="add mod">
          <ac:chgData name="Pushkar Admane" userId="fe3f8df7-1622-429f-ab36-7cc76201e871" providerId="ADAL" clId="{EB9BA360-7DDB-430C-BB39-75B2462019C5}" dt="2024-10-15T19:33:45.078" v="234"/>
          <ac:spMkLst>
            <pc:docMk/>
            <pc:sldMk cId="3482551921" sldId="1287"/>
            <ac:spMk id="5" creationId="{DDA0A904-EB55-705C-9CD2-32BC0120F0E2}"/>
          </ac:spMkLst>
        </pc:spChg>
        <pc:graphicFrameChg chg="add mod">
          <ac:chgData name="Pushkar Admane" userId="fe3f8df7-1622-429f-ab36-7cc76201e871" providerId="ADAL" clId="{EB9BA360-7DDB-430C-BB39-75B2462019C5}" dt="2024-10-15T19:33:45.078" v="234"/>
          <ac:graphicFrameMkLst>
            <pc:docMk/>
            <pc:sldMk cId="3482551921" sldId="1287"/>
            <ac:graphicFrameMk id="4" creationId="{B01EA9AC-44F7-41A0-ED7A-1746DD8EF8C6}"/>
          </ac:graphicFrameMkLst>
        </pc:graphicFrameChg>
        <pc:picChg chg="add mod">
          <ac:chgData name="Pushkar Admane" userId="fe3f8df7-1622-429f-ab36-7cc76201e871" providerId="ADAL" clId="{EB9BA360-7DDB-430C-BB39-75B2462019C5}" dt="2024-10-15T19:33:45.078" v="234"/>
          <ac:picMkLst>
            <pc:docMk/>
            <pc:sldMk cId="3482551921" sldId="1287"/>
            <ac:picMk id="1026" creationId="{FFE56ABD-571D-D98D-B708-3C314E5392AC}"/>
          </ac:picMkLst>
        </pc:picChg>
      </pc:sldChg>
      <pc:sldChg chg="addSp delSp modSp new del mod setBg modAnim">
        <pc:chgData name="Pushkar Admane" userId="fe3f8df7-1622-429f-ab36-7cc76201e871" providerId="ADAL" clId="{EB9BA360-7DDB-430C-BB39-75B2462019C5}" dt="2024-10-16T16:25:19.381" v="842" actId="2696"/>
        <pc:sldMkLst>
          <pc:docMk/>
          <pc:sldMk cId="2398934397" sldId="1288"/>
        </pc:sldMkLst>
        <pc:spChg chg="del">
          <ac:chgData name="Pushkar Admane" userId="fe3f8df7-1622-429f-ab36-7cc76201e871" providerId="ADAL" clId="{EB9BA360-7DDB-430C-BB39-75B2462019C5}" dt="2024-10-16T03:38:27.075" v="250" actId="26606"/>
          <ac:spMkLst>
            <pc:docMk/>
            <pc:sldMk cId="2398934397" sldId="1288"/>
            <ac:spMk id="2" creationId="{4B21F3CB-8E44-3D7F-5BFC-971B57D4EB7C}"/>
          </ac:spMkLst>
        </pc:spChg>
        <pc:spChg chg="del">
          <ac:chgData name="Pushkar Admane" userId="fe3f8df7-1622-429f-ab36-7cc76201e871" providerId="ADAL" clId="{EB9BA360-7DDB-430C-BB39-75B2462019C5}" dt="2024-10-16T03:37:06.333" v="243"/>
          <ac:spMkLst>
            <pc:docMk/>
            <pc:sldMk cId="2398934397" sldId="1288"/>
            <ac:spMk id="3" creationId="{57FAA2FD-D518-FDC4-450D-E43B37DCF67B}"/>
          </ac:spMkLst>
        </pc:spChg>
        <pc:spChg chg="add mod">
          <ac:chgData name="Pushkar Admane" userId="fe3f8df7-1622-429f-ab36-7cc76201e871" providerId="ADAL" clId="{EB9BA360-7DDB-430C-BB39-75B2462019C5}" dt="2024-10-16T03:39:21.445" v="251"/>
          <ac:spMkLst>
            <pc:docMk/>
            <pc:sldMk cId="2398934397" sldId="1288"/>
            <ac:spMk id="6" creationId="{3330FA21-80B1-A6B9-8DC5-814D338A2256}"/>
          </ac:spMkLst>
        </pc:spChg>
        <pc:grpChg chg="add">
          <ac:chgData name="Pushkar Admane" userId="fe3f8df7-1622-429f-ab36-7cc76201e871" providerId="ADAL" clId="{EB9BA360-7DDB-430C-BB39-75B2462019C5}" dt="2024-10-16T03:38:27.075" v="250" actId="26606"/>
          <ac:grpSpMkLst>
            <pc:docMk/>
            <pc:sldMk cId="2398934397" sldId="1288"/>
            <ac:grpSpMk id="10" creationId="{069C9563-3F88-F4E8-69B1-522A21F2EAD7}"/>
          </ac:grpSpMkLst>
        </pc:grpChg>
        <pc:graphicFrameChg chg="add mod modGraphic">
          <ac:chgData name="Pushkar Admane" userId="fe3f8df7-1622-429f-ab36-7cc76201e871" providerId="ADAL" clId="{EB9BA360-7DDB-430C-BB39-75B2462019C5}" dt="2024-10-16T03:40:18.956" v="258" actId="1076"/>
          <ac:graphicFrameMkLst>
            <pc:docMk/>
            <pc:sldMk cId="2398934397" sldId="1288"/>
            <ac:graphicFrameMk id="5" creationId="{76C27611-90C5-0F41-1057-458877195830}"/>
          </ac:graphicFrameMkLst>
        </pc:graphicFrameChg>
        <pc:picChg chg="add mod">
          <ac:chgData name="Pushkar Admane" userId="fe3f8df7-1622-429f-ab36-7cc76201e871" providerId="ADAL" clId="{EB9BA360-7DDB-430C-BB39-75B2462019C5}" dt="2024-10-16T03:36:40.931" v="242" actId="1076"/>
          <ac:picMkLst>
            <pc:docMk/>
            <pc:sldMk cId="2398934397" sldId="1288"/>
            <ac:picMk id="4" creationId="{2AEE07E7-6B24-59B2-CE7D-7019378E8860}"/>
          </ac:picMkLst>
        </pc:picChg>
      </pc:sldChg>
      <pc:sldChg chg="addSp delSp modSp add mod">
        <pc:chgData name="Pushkar Admane" userId="fe3f8df7-1622-429f-ab36-7cc76201e871" providerId="ADAL" clId="{EB9BA360-7DDB-430C-BB39-75B2462019C5}" dt="2024-10-16T03:50:48.713" v="361" actId="1076"/>
        <pc:sldMkLst>
          <pc:docMk/>
          <pc:sldMk cId="2775536064" sldId="1289"/>
        </pc:sldMkLst>
        <pc:spChg chg="del">
          <ac:chgData name="Pushkar Admane" userId="fe3f8df7-1622-429f-ab36-7cc76201e871" providerId="ADAL" clId="{EB9BA360-7DDB-430C-BB39-75B2462019C5}" dt="2024-10-16T03:47:18.616" v="313" actId="478"/>
          <ac:spMkLst>
            <pc:docMk/>
            <pc:sldMk cId="2775536064" sldId="1289"/>
            <ac:spMk id="2" creationId="{00000000-0000-0000-0000-000000000000}"/>
          </ac:spMkLst>
        </pc:spChg>
        <pc:spChg chg="add del mod">
          <ac:chgData name="Pushkar Admane" userId="fe3f8df7-1622-429f-ab36-7cc76201e871" providerId="ADAL" clId="{EB9BA360-7DDB-430C-BB39-75B2462019C5}" dt="2024-10-16T03:47:32.084" v="316" actId="478"/>
          <ac:spMkLst>
            <pc:docMk/>
            <pc:sldMk cId="2775536064" sldId="1289"/>
            <ac:spMk id="4" creationId="{90E30606-0B01-ECFC-0581-8764FB364150}"/>
          </ac:spMkLst>
        </pc:spChg>
        <pc:spChg chg="add mod">
          <ac:chgData name="Pushkar Admane" userId="fe3f8df7-1622-429f-ab36-7cc76201e871" providerId="ADAL" clId="{EB9BA360-7DDB-430C-BB39-75B2462019C5}" dt="2024-10-16T03:50:48.713" v="361" actId="1076"/>
          <ac:spMkLst>
            <pc:docMk/>
            <pc:sldMk cId="2775536064" sldId="1289"/>
            <ac:spMk id="6" creationId="{E6FF344E-D493-4B34-3830-81EDA35D7112}"/>
          </ac:spMkLst>
        </pc:spChg>
        <pc:spChg chg="add del mod">
          <ac:chgData name="Pushkar Admane" userId="fe3f8df7-1622-429f-ab36-7cc76201e871" providerId="ADAL" clId="{EB9BA360-7DDB-430C-BB39-75B2462019C5}" dt="2024-10-16T03:48:22.560" v="320" actId="478"/>
          <ac:spMkLst>
            <pc:docMk/>
            <pc:sldMk cId="2775536064" sldId="1289"/>
            <ac:spMk id="8" creationId="{F9AACF4E-2368-5234-D751-B36A59A7B200}"/>
          </ac:spMkLst>
        </pc:spChg>
        <pc:spChg chg="mod">
          <ac:chgData name="Pushkar Admane" userId="fe3f8df7-1622-429f-ab36-7cc76201e871" providerId="ADAL" clId="{EB9BA360-7DDB-430C-BB39-75B2462019C5}" dt="2024-10-16T03:47:51.439" v="318"/>
          <ac:spMkLst>
            <pc:docMk/>
            <pc:sldMk cId="2775536064" sldId="1289"/>
            <ac:spMk id="10" creationId="{6CDB6411-2F69-2FA5-3E0A-1D00D30467FB}"/>
          </ac:spMkLst>
        </pc:spChg>
        <pc:spChg chg="mod">
          <ac:chgData name="Pushkar Admane" userId="fe3f8df7-1622-429f-ab36-7cc76201e871" providerId="ADAL" clId="{EB9BA360-7DDB-430C-BB39-75B2462019C5}" dt="2024-10-16T03:47:51.439" v="318"/>
          <ac:spMkLst>
            <pc:docMk/>
            <pc:sldMk cId="2775536064" sldId="1289"/>
            <ac:spMk id="11" creationId="{1A59D2B6-03CA-4CE4-8BF2-F4B6F92DBF72}"/>
          </ac:spMkLst>
        </pc:spChg>
        <pc:spChg chg="mod">
          <ac:chgData name="Pushkar Admane" userId="fe3f8df7-1622-429f-ab36-7cc76201e871" providerId="ADAL" clId="{EB9BA360-7DDB-430C-BB39-75B2462019C5}" dt="2024-10-16T03:47:51.439" v="318"/>
          <ac:spMkLst>
            <pc:docMk/>
            <pc:sldMk cId="2775536064" sldId="1289"/>
            <ac:spMk id="13" creationId="{D7CBCE2F-CF79-E3F5-44A5-06C9806C71B3}"/>
          </ac:spMkLst>
        </pc:spChg>
        <pc:spChg chg="mod">
          <ac:chgData name="Pushkar Admane" userId="fe3f8df7-1622-429f-ab36-7cc76201e871" providerId="ADAL" clId="{EB9BA360-7DDB-430C-BB39-75B2462019C5}" dt="2024-10-16T03:47:51.439" v="318"/>
          <ac:spMkLst>
            <pc:docMk/>
            <pc:sldMk cId="2775536064" sldId="1289"/>
            <ac:spMk id="14" creationId="{E2497AB0-827E-C195-6770-8F1A4C4580D6}"/>
          </ac:spMkLst>
        </pc:spChg>
        <pc:spChg chg="mod">
          <ac:chgData name="Pushkar Admane" userId="fe3f8df7-1622-429f-ab36-7cc76201e871" providerId="ADAL" clId="{EB9BA360-7DDB-430C-BB39-75B2462019C5}" dt="2024-10-16T03:47:51.439" v="318"/>
          <ac:spMkLst>
            <pc:docMk/>
            <pc:sldMk cId="2775536064" sldId="1289"/>
            <ac:spMk id="16" creationId="{A406FA78-D128-69A9-2406-488A26817478}"/>
          </ac:spMkLst>
        </pc:spChg>
        <pc:spChg chg="mod">
          <ac:chgData name="Pushkar Admane" userId="fe3f8df7-1622-429f-ab36-7cc76201e871" providerId="ADAL" clId="{EB9BA360-7DDB-430C-BB39-75B2462019C5}" dt="2024-10-16T03:47:51.439" v="318"/>
          <ac:spMkLst>
            <pc:docMk/>
            <pc:sldMk cId="2775536064" sldId="1289"/>
            <ac:spMk id="17" creationId="{558B6B26-3C1D-8AFE-1E76-364F7E21E461}"/>
          </ac:spMkLst>
        </pc:spChg>
        <pc:spChg chg="mod">
          <ac:chgData name="Pushkar Admane" userId="fe3f8df7-1622-429f-ab36-7cc76201e871" providerId="ADAL" clId="{EB9BA360-7DDB-430C-BB39-75B2462019C5}" dt="2024-10-16T03:47:51.439" v="318"/>
          <ac:spMkLst>
            <pc:docMk/>
            <pc:sldMk cId="2775536064" sldId="1289"/>
            <ac:spMk id="19" creationId="{79B71843-B97F-954E-5469-AFDB8CD0B5E7}"/>
          </ac:spMkLst>
        </pc:spChg>
        <pc:spChg chg="mod">
          <ac:chgData name="Pushkar Admane" userId="fe3f8df7-1622-429f-ab36-7cc76201e871" providerId="ADAL" clId="{EB9BA360-7DDB-430C-BB39-75B2462019C5}" dt="2024-10-16T03:47:51.439" v="318"/>
          <ac:spMkLst>
            <pc:docMk/>
            <pc:sldMk cId="2775536064" sldId="1289"/>
            <ac:spMk id="20" creationId="{BD9575F1-4224-799A-C7F1-C25F75DF07D2}"/>
          </ac:spMkLst>
        </pc:spChg>
        <pc:spChg chg="mod">
          <ac:chgData name="Pushkar Admane" userId="fe3f8df7-1622-429f-ab36-7cc76201e871" providerId="ADAL" clId="{EB9BA360-7DDB-430C-BB39-75B2462019C5}" dt="2024-10-16T03:47:51.439" v="318"/>
          <ac:spMkLst>
            <pc:docMk/>
            <pc:sldMk cId="2775536064" sldId="1289"/>
            <ac:spMk id="22" creationId="{FEBB0978-D664-C87A-58C5-69DB778B1702}"/>
          </ac:spMkLst>
        </pc:spChg>
        <pc:spChg chg="mod">
          <ac:chgData name="Pushkar Admane" userId="fe3f8df7-1622-429f-ab36-7cc76201e871" providerId="ADAL" clId="{EB9BA360-7DDB-430C-BB39-75B2462019C5}" dt="2024-10-16T03:47:51.439" v="318"/>
          <ac:spMkLst>
            <pc:docMk/>
            <pc:sldMk cId="2775536064" sldId="1289"/>
            <ac:spMk id="23" creationId="{763CD34F-80A5-0F5E-76EF-FAAAA2539998}"/>
          </ac:spMkLst>
        </pc:spChg>
        <pc:spChg chg="mod">
          <ac:chgData name="Pushkar Admane" userId="fe3f8df7-1622-429f-ab36-7cc76201e871" providerId="ADAL" clId="{EB9BA360-7DDB-430C-BB39-75B2462019C5}" dt="2024-10-16T03:47:51.439" v="318"/>
          <ac:spMkLst>
            <pc:docMk/>
            <pc:sldMk cId="2775536064" sldId="1289"/>
            <ac:spMk id="25" creationId="{A270EB0A-0C68-A9E0-35A8-5ADA4AED37CF}"/>
          </ac:spMkLst>
        </pc:spChg>
        <pc:spChg chg="mod">
          <ac:chgData name="Pushkar Admane" userId="fe3f8df7-1622-429f-ab36-7cc76201e871" providerId="ADAL" clId="{EB9BA360-7DDB-430C-BB39-75B2462019C5}" dt="2024-10-16T03:47:51.439" v="318"/>
          <ac:spMkLst>
            <pc:docMk/>
            <pc:sldMk cId="2775536064" sldId="1289"/>
            <ac:spMk id="26" creationId="{ACB73116-482B-04AC-4D16-77394B0D39BF}"/>
          </ac:spMkLst>
        </pc:spChg>
        <pc:spChg chg="add mod">
          <ac:chgData name="Pushkar Admane" userId="fe3f8df7-1622-429f-ab36-7cc76201e871" providerId="ADAL" clId="{EB9BA360-7DDB-430C-BB39-75B2462019C5}" dt="2024-10-16T03:48:44.657" v="347" actId="1035"/>
          <ac:spMkLst>
            <pc:docMk/>
            <pc:sldMk cId="2775536064" sldId="1289"/>
            <ac:spMk id="27" creationId="{64BD58AD-4519-2798-618C-7615368064B3}"/>
          </ac:spMkLst>
        </pc:spChg>
        <pc:spChg chg="mod">
          <ac:chgData name="Pushkar Admane" userId="fe3f8df7-1622-429f-ab36-7cc76201e871" providerId="ADAL" clId="{EB9BA360-7DDB-430C-BB39-75B2462019C5}" dt="2024-10-16T03:48:23.951" v="321"/>
          <ac:spMkLst>
            <pc:docMk/>
            <pc:sldMk cId="2775536064" sldId="1289"/>
            <ac:spMk id="30" creationId="{A3D0B4C7-6DC8-BCD8-759E-36350CF04F23}"/>
          </ac:spMkLst>
        </pc:spChg>
        <pc:spChg chg="mod">
          <ac:chgData name="Pushkar Admane" userId="fe3f8df7-1622-429f-ab36-7cc76201e871" providerId="ADAL" clId="{EB9BA360-7DDB-430C-BB39-75B2462019C5}" dt="2024-10-16T03:48:23.951" v="321"/>
          <ac:spMkLst>
            <pc:docMk/>
            <pc:sldMk cId="2775536064" sldId="1289"/>
            <ac:spMk id="31" creationId="{C78314F0-3712-BE28-EAF5-AEDD98A7071A}"/>
          </ac:spMkLst>
        </pc:spChg>
        <pc:spChg chg="mod">
          <ac:chgData name="Pushkar Admane" userId="fe3f8df7-1622-429f-ab36-7cc76201e871" providerId="ADAL" clId="{EB9BA360-7DDB-430C-BB39-75B2462019C5}" dt="2024-10-16T03:48:23.951" v="321"/>
          <ac:spMkLst>
            <pc:docMk/>
            <pc:sldMk cId="2775536064" sldId="1289"/>
            <ac:spMk id="33" creationId="{F07C26D9-608B-D609-E824-941A1B9E639D}"/>
          </ac:spMkLst>
        </pc:spChg>
        <pc:spChg chg="mod">
          <ac:chgData name="Pushkar Admane" userId="fe3f8df7-1622-429f-ab36-7cc76201e871" providerId="ADAL" clId="{EB9BA360-7DDB-430C-BB39-75B2462019C5}" dt="2024-10-16T03:48:23.951" v="321"/>
          <ac:spMkLst>
            <pc:docMk/>
            <pc:sldMk cId="2775536064" sldId="1289"/>
            <ac:spMk id="35" creationId="{07B9B2AD-99A2-FDA7-ADF9-8025A3A0070F}"/>
          </ac:spMkLst>
        </pc:spChg>
        <pc:spChg chg="mod">
          <ac:chgData name="Pushkar Admane" userId="fe3f8df7-1622-429f-ab36-7cc76201e871" providerId="ADAL" clId="{EB9BA360-7DDB-430C-BB39-75B2462019C5}" dt="2024-10-16T03:48:23.951" v="321"/>
          <ac:spMkLst>
            <pc:docMk/>
            <pc:sldMk cId="2775536064" sldId="1289"/>
            <ac:spMk id="38" creationId="{84606833-C831-2024-AC31-7883A68AAC3A}"/>
          </ac:spMkLst>
        </pc:spChg>
        <pc:spChg chg="mod">
          <ac:chgData name="Pushkar Admane" userId="fe3f8df7-1622-429f-ab36-7cc76201e871" providerId="ADAL" clId="{EB9BA360-7DDB-430C-BB39-75B2462019C5}" dt="2024-10-16T03:48:23.951" v="321"/>
          <ac:spMkLst>
            <pc:docMk/>
            <pc:sldMk cId="2775536064" sldId="1289"/>
            <ac:spMk id="39" creationId="{64CD63BB-F749-8E5D-AFE5-6DAFEB874AE6}"/>
          </ac:spMkLst>
        </pc:spChg>
        <pc:spChg chg="mod">
          <ac:chgData name="Pushkar Admane" userId="fe3f8df7-1622-429f-ab36-7cc76201e871" providerId="ADAL" clId="{EB9BA360-7DDB-430C-BB39-75B2462019C5}" dt="2024-10-16T03:48:23.951" v="321"/>
          <ac:spMkLst>
            <pc:docMk/>
            <pc:sldMk cId="2775536064" sldId="1289"/>
            <ac:spMk id="41" creationId="{1DE23C56-72CF-68DE-A9CC-6315907A2625}"/>
          </ac:spMkLst>
        </pc:spChg>
        <pc:spChg chg="mod">
          <ac:chgData name="Pushkar Admane" userId="fe3f8df7-1622-429f-ab36-7cc76201e871" providerId="ADAL" clId="{EB9BA360-7DDB-430C-BB39-75B2462019C5}" dt="2024-10-16T03:48:23.951" v="321"/>
          <ac:spMkLst>
            <pc:docMk/>
            <pc:sldMk cId="2775536064" sldId="1289"/>
            <ac:spMk id="42" creationId="{63085B9A-F9E1-A132-0512-21BB0D770A24}"/>
          </ac:spMkLst>
        </pc:spChg>
        <pc:spChg chg="mod">
          <ac:chgData name="Pushkar Admane" userId="fe3f8df7-1622-429f-ab36-7cc76201e871" providerId="ADAL" clId="{EB9BA360-7DDB-430C-BB39-75B2462019C5}" dt="2024-10-16T03:48:23.951" v="321"/>
          <ac:spMkLst>
            <pc:docMk/>
            <pc:sldMk cId="2775536064" sldId="1289"/>
            <ac:spMk id="44" creationId="{ABB88738-310C-5523-CEF7-9824378448A5}"/>
          </ac:spMkLst>
        </pc:spChg>
        <pc:spChg chg="mod">
          <ac:chgData name="Pushkar Admane" userId="fe3f8df7-1622-429f-ab36-7cc76201e871" providerId="ADAL" clId="{EB9BA360-7DDB-430C-BB39-75B2462019C5}" dt="2024-10-16T03:48:23.951" v="321"/>
          <ac:spMkLst>
            <pc:docMk/>
            <pc:sldMk cId="2775536064" sldId="1289"/>
            <ac:spMk id="45" creationId="{55B0B03D-BF90-433D-02C9-766D0CC10148}"/>
          </ac:spMkLst>
        </pc:spChg>
        <pc:spChg chg="mod">
          <ac:chgData name="Pushkar Admane" userId="fe3f8df7-1622-429f-ab36-7cc76201e871" providerId="ADAL" clId="{EB9BA360-7DDB-430C-BB39-75B2462019C5}" dt="2024-10-16T03:48:23.951" v="321"/>
          <ac:spMkLst>
            <pc:docMk/>
            <pc:sldMk cId="2775536064" sldId="1289"/>
            <ac:spMk id="47" creationId="{10739312-8118-A32C-ED39-40601B53D00E}"/>
          </ac:spMkLst>
        </pc:spChg>
        <pc:spChg chg="mod">
          <ac:chgData name="Pushkar Admane" userId="fe3f8df7-1622-429f-ab36-7cc76201e871" providerId="ADAL" clId="{EB9BA360-7DDB-430C-BB39-75B2462019C5}" dt="2024-10-16T03:48:23.951" v="321"/>
          <ac:spMkLst>
            <pc:docMk/>
            <pc:sldMk cId="2775536064" sldId="1289"/>
            <ac:spMk id="48" creationId="{EC13471D-DB88-C1C7-2ACE-0917C59D3948}"/>
          </ac:spMkLst>
        </pc:spChg>
        <pc:spChg chg="add mod">
          <ac:chgData name="Pushkar Admane" userId="fe3f8df7-1622-429f-ab36-7cc76201e871" providerId="ADAL" clId="{EB9BA360-7DDB-430C-BB39-75B2462019C5}" dt="2024-10-16T03:48:44.657" v="347" actId="1035"/>
          <ac:spMkLst>
            <pc:docMk/>
            <pc:sldMk cId="2775536064" sldId="1289"/>
            <ac:spMk id="49" creationId="{1477AFD7-0048-0571-CF69-2627452CD574}"/>
          </ac:spMkLst>
        </pc:spChg>
        <pc:grpChg chg="add mod">
          <ac:chgData name="Pushkar Admane" userId="fe3f8df7-1622-429f-ab36-7cc76201e871" providerId="ADAL" clId="{EB9BA360-7DDB-430C-BB39-75B2462019C5}" dt="2024-10-16T03:48:44.657" v="347" actId="1035"/>
          <ac:grpSpMkLst>
            <pc:docMk/>
            <pc:sldMk cId="2775536064" sldId="1289"/>
            <ac:grpSpMk id="9" creationId="{C9616495-D650-CC9B-F0F8-B9E5775090CD}"/>
          </ac:grpSpMkLst>
        </pc:grpChg>
        <pc:grpChg chg="add mod">
          <ac:chgData name="Pushkar Admane" userId="fe3f8df7-1622-429f-ab36-7cc76201e871" providerId="ADAL" clId="{EB9BA360-7DDB-430C-BB39-75B2462019C5}" dt="2024-10-16T03:48:44.657" v="347" actId="1035"/>
          <ac:grpSpMkLst>
            <pc:docMk/>
            <pc:sldMk cId="2775536064" sldId="1289"/>
            <ac:grpSpMk id="12" creationId="{8F85136D-0C6B-814B-E750-B2F62F461C38}"/>
          </ac:grpSpMkLst>
        </pc:grpChg>
        <pc:grpChg chg="add mod">
          <ac:chgData name="Pushkar Admane" userId="fe3f8df7-1622-429f-ab36-7cc76201e871" providerId="ADAL" clId="{EB9BA360-7DDB-430C-BB39-75B2462019C5}" dt="2024-10-16T03:48:44.657" v="347" actId="1035"/>
          <ac:grpSpMkLst>
            <pc:docMk/>
            <pc:sldMk cId="2775536064" sldId="1289"/>
            <ac:grpSpMk id="15" creationId="{0860D1DA-5B14-AC72-2D89-AA22F800FD8E}"/>
          </ac:grpSpMkLst>
        </pc:grpChg>
        <pc:grpChg chg="add mod">
          <ac:chgData name="Pushkar Admane" userId="fe3f8df7-1622-429f-ab36-7cc76201e871" providerId="ADAL" clId="{EB9BA360-7DDB-430C-BB39-75B2462019C5}" dt="2024-10-16T03:48:44.657" v="347" actId="1035"/>
          <ac:grpSpMkLst>
            <pc:docMk/>
            <pc:sldMk cId="2775536064" sldId="1289"/>
            <ac:grpSpMk id="18" creationId="{E7AE5C70-EAFC-198C-63B1-D9FF6A8E72D9}"/>
          </ac:grpSpMkLst>
        </pc:grpChg>
        <pc:grpChg chg="add mod">
          <ac:chgData name="Pushkar Admane" userId="fe3f8df7-1622-429f-ab36-7cc76201e871" providerId="ADAL" clId="{EB9BA360-7DDB-430C-BB39-75B2462019C5}" dt="2024-10-16T03:48:44.657" v="347" actId="1035"/>
          <ac:grpSpMkLst>
            <pc:docMk/>
            <pc:sldMk cId="2775536064" sldId="1289"/>
            <ac:grpSpMk id="21" creationId="{86F3DDE2-E82B-7318-E440-C1A1A9702579}"/>
          </ac:grpSpMkLst>
        </pc:grpChg>
        <pc:grpChg chg="add mod">
          <ac:chgData name="Pushkar Admane" userId="fe3f8df7-1622-429f-ab36-7cc76201e871" providerId="ADAL" clId="{EB9BA360-7DDB-430C-BB39-75B2462019C5}" dt="2024-10-16T03:48:44.657" v="347" actId="1035"/>
          <ac:grpSpMkLst>
            <pc:docMk/>
            <pc:sldMk cId="2775536064" sldId="1289"/>
            <ac:grpSpMk id="24" creationId="{5D60DAAD-A082-0635-52E5-307365F38A19}"/>
          </ac:grpSpMkLst>
        </pc:grpChg>
        <pc:grpChg chg="add mod">
          <ac:chgData name="Pushkar Admane" userId="fe3f8df7-1622-429f-ab36-7cc76201e871" providerId="ADAL" clId="{EB9BA360-7DDB-430C-BB39-75B2462019C5}" dt="2024-10-16T03:48:44.657" v="347" actId="1035"/>
          <ac:grpSpMkLst>
            <pc:docMk/>
            <pc:sldMk cId="2775536064" sldId="1289"/>
            <ac:grpSpMk id="29" creationId="{0A49F0A2-515D-4235-5AD2-6937A72CC34F}"/>
          </ac:grpSpMkLst>
        </pc:grpChg>
        <pc:grpChg chg="add mod">
          <ac:chgData name="Pushkar Admane" userId="fe3f8df7-1622-429f-ab36-7cc76201e871" providerId="ADAL" clId="{EB9BA360-7DDB-430C-BB39-75B2462019C5}" dt="2024-10-16T03:48:44.657" v="347" actId="1035"/>
          <ac:grpSpMkLst>
            <pc:docMk/>
            <pc:sldMk cId="2775536064" sldId="1289"/>
            <ac:grpSpMk id="32" creationId="{FB1A1450-1AFA-C318-55BD-10C351CCB2C1}"/>
          </ac:grpSpMkLst>
        </pc:grpChg>
        <pc:grpChg chg="add mod">
          <ac:chgData name="Pushkar Admane" userId="fe3f8df7-1622-429f-ab36-7cc76201e871" providerId="ADAL" clId="{EB9BA360-7DDB-430C-BB39-75B2462019C5}" dt="2024-10-16T03:48:44.657" v="347" actId="1035"/>
          <ac:grpSpMkLst>
            <pc:docMk/>
            <pc:sldMk cId="2775536064" sldId="1289"/>
            <ac:grpSpMk id="37" creationId="{725FB241-03B3-A5D5-A363-0739112FA108}"/>
          </ac:grpSpMkLst>
        </pc:grpChg>
        <pc:grpChg chg="add mod">
          <ac:chgData name="Pushkar Admane" userId="fe3f8df7-1622-429f-ab36-7cc76201e871" providerId="ADAL" clId="{EB9BA360-7DDB-430C-BB39-75B2462019C5}" dt="2024-10-16T03:48:44.657" v="347" actId="1035"/>
          <ac:grpSpMkLst>
            <pc:docMk/>
            <pc:sldMk cId="2775536064" sldId="1289"/>
            <ac:grpSpMk id="40" creationId="{3FC762C5-F115-E687-13DD-18E181CCDCD0}"/>
          </ac:grpSpMkLst>
        </pc:grpChg>
        <pc:grpChg chg="add mod">
          <ac:chgData name="Pushkar Admane" userId="fe3f8df7-1622-429f-ab36-7cc76201e871" providerId="ADAL" clId="{EB9BA360-7DDB-430C-BB39-75B2462019C5}" dt="2024-10-16T03:48:44.657" v="347" actId="1035"/>
          <ac:grpSpMkLst>
            <pc:docMk/>
            <pc:sldMk cId="2775536064" sldId="1289"/>
            <ac:grpSpMk id="43" creationId="{F057A526-E3F3-FE7C-70D6-56A9E9C94E3B}"/>
          </ac:grpSpMkLst>
        </pc:grpChg>
        <pc:grpChg chg="add mod">
          <ac:chgData name="Pushkar Admane" userId="fe3f8df7-1622-429f-ab36-7cc76201e871" providerId="ADAL" clId="{EB9BA360-7DDB-430C-BB39-75B2462019C5}" dt="2024-10-16T03:48:44.657" v="347" actId="1035"/>
          <ac:grpSpMkLst>
            <pc:docMk/>
            <pc:sldMk cId="2775536064" sldId="1289"/>
            <ac:grpSpMk id="46" creationId="{5B7816A1-1657-B589-82FB-438AEB9AC042}"/>
          </ac:grpSpMkLst>
        </pc:grpChg>
        <pc:graphicFrameChg chg="del">
          <ac:chgData name="Pushkar Admane" userId="fe3f8df7-1622-429f-ab36-7cc76201e871" providerId="ADAL" clId="{EB9BA360-7DDB-430C-BB39-75B2462019C5}" dt="2024-10-16T03:47:28.506" v="315" actId="478"/>
          <ac:graphicFrameMkLst>
            <pc:docMk/>
            <pc:sldMk cId="2775536064" sldId="1289"/>
            <ac:graphicFrameMk id="5" creationId="{A9B33F0B-44D1-449B-8EFF-025330D07EDA}"/>
          </ac:graphicFrameMkLst>
        </pc:graphicFrameChg>
        <pc:picChg chg="add mod">
          <ac:chgData name="Pushkar Admane" userId="fe3f8df7-1622-429f-ab36-7cc76201e871" providerId="ADAL" clId="{EB9BA360-7DDB-430C-BB39-75B2462019C5}" dt="2024-10-16T03:48:44.657" v="347" actId="1035"/>
          <ac:picMkLst>
            <pc:docMk/>
            <pc:sldMk cId="2775536064" sldId="1289"/>
            <ac:picMk id="28" creationId="{D1AFCF50-DA1D-09A1-1C60-3495D51225AF}"/>
          </ac:picMkLst>
        </pc:picChg>
      </pc:sldChg>
      <pc:sldChg chg="new del">
        <pc:chgData name="Pushkar Admane" userId="fe3f8df7-1622-429f-ab36-7cc76201e871" providerId="ADAL" clId="{EB9BA360-7DDB-430C-BB39-75B2462019C5}" dt="2024-10-16T03:47:00.977" v="311" actId="680"/>
        <pc:sldMkLst>
          <pc:docMk/>
          <pc:sldMk cId="3029748257" sldId="1289"/>
        </pc:sldMkLst>
      </pc:sldChg>
      <pc:sldChg chg="modSp new del mod">
        <pc:chgData name="Pushkar Admane" userId="fe3f8df7-1622-429f-ab36-7cc76201e871" providerId="ADAL" clId="{EB9BA360-7DDB-430C-BB39-75B2462019C5}" dt="2024-10-16T18:15:28.507" v="1541" actId="47"/>
        <pc:sldMkLst>
          <pc:docMk/>
          <pc:sldMk cId="1502852560" sldId="1290"/>
        </pc:sldMkLst>
        <pc:spChg chg="mod">
          <ac:chgData name="Pushkar Admane" userId="fe3f8df7-1622-429f-ab36-7cc76201e871" providerId="ADAL" clId="{EB9BA360-7DDB-430C-BB39-75B2462019C5}" dt="2024-10-16T17:33:29.600" v="934" actId="20577"/>
          <ac:spMkLst>
            <pc:docMk/>
            <pc:sldMk cId="1502852560" sldId="1290"/>
            <ac:spMk id="2" creationId="{0C0B2983-72D6-DB65-4A7C-B89F57A45B25}"/>
          </ac:spMkLst>
        </pc:spChg>
        <pc:spChg chg="mod">
          <ac:chgData name="Pushkar Admane" userId="fe3f8df7-1622-429f-ab36-7cc76201e871" providerId="ADAL" clId="{EB9BA360-7DDB-430C-BB39-75B2462019C5}" dt="2024-10-16T17:36:45.546" v="1300" actId="20577"/>
          <ac:spMkLst>
            <pc:docMk/>
            <pc:sldMk cId="1502852560" sldId="1290"/>
            <ac:spMk id="3" creationId="{E5D2EB4E-E9BE-2BD1-F8A1-A170C78EE5F2}"/>
          </ac:spMkLst>
        </pc:spChg>
      </pc:sldChg>
      <pc:sldChg chg="addSp delSp modSp new mod setBg modClrScheme addAnim delAnim setClrOvrMap chgLayout">
        <pc:chgData name="Pushkar Admane" userId="fe3f8df7-1622-429f-ab36-7cc76201e871" providerId="ADAL" clId="{EB9BA360-7DDB-430C-BB39-75B2462019C5}" dt="2024-10-16T17:42:15.194" v="1349" actId="26606"/>
        <pc:sldMkLst>
          <pc:docMk/>
          <pc:sldMk cId="1745079561" sldId="1291"/>
        </pc:sldMkLst>
        <pc:spChg chg="del mod ord">
          <ac:chgData name="Pushkar Admane" userId="fe3f8df7-1622-429f-ab36-7cc76201e871" providerId="ADAL" clId="{EB9BA360-7DDB-430C-BB39-75B2462019C5}" dt="2024-10-16T17:39:48.306" v="1323" actId="700"/>
          <ac:spMkLst>
            <pc:docMk/>
            <pc:sldMk cId="1745079561" sldId="1291"/>
            <ac:spMk id="2" creationId="{EAB60A87-D445-C6DC-096E-ECA80C1B75BB}"/>
          </ac:spMkLst>
        </pc:spChg>
        <pc:spChg chg="del mod ord">
          <ac:chgData name="Pushkar Admane" userId="fe3f8df7-1622-429f-ab36-7cc76201e871" providerId="ADAL" clId="{EB9BA360-7DDB-430C-BB39-75B2462019C5}" dt="2024-10-16T17:40:03.353" v="1326" actId="478"/>
          <ac:spMkLst>
            <pc:docMk/>
            <pc:sldMk cId="1745079561" sldId="1291"/>
            <ac:spMk id="3" creationId="{0E36F0C5-E94E-AB93-9C6B-891D1FAB1982}"/>
          </ac:spMkLst>
        </pc:spChg>
        <pc:spChg chg="add mod ord">
          <ac:chgData name="Pushkar Admane" userId="fe3f8df7-1622-429f-ab36-7cc76201e871" providerId="ADAL" clId="{EB9BA360-7DDB-430C-BB39-75B2462019C5}" dt="2024-10-16T17:42:15.194" v="1349" actId="26606"/>
          <ac:spMkLst>
            <pc:docMk/>
            <pc:sldMk cId="1745079561" sldId="1291"/>
            <ac:spMk id="4" creationId="{3B697471-4A37-D335-419B-1F806CA4B6FE}"/>
          </ac:spMkLst>
        </pc:spChg>
        <pc:spChg chg="add del">
          <ac:chgData name="Pushkar Admane" userId="fe3f8df7-1622-429f-ab36-7cc76201e871" providerId="ADAL" clId="{EB9BA360-7DDB-430C-BB39-75B2462019C5}" dt="2024-10-16T17:41:36.024" v="1332" actId="26606"/>
          <ac:spMkLst>
            <pc:docMk/>
            <pc:sldMk cId="1745079561" sldId="1291"/>
            <ac:spMk id="11" creationId="{71B2258F-86CA-4D4D-8270-BC05FCDEBFB3}"/>
          </ac:spMkLst>
        </pc:spChg>
        <pc:spChg chg="add del">
          <ac:chgData name="Pushkar Admane" userId="fe3f8df7-1622-429f-ab36-7cc76201e871" providerId="ADAL" clId="{EB9BA360-7DDB-430C-BB39-75B2462019C5}" dt="2024-10-16T17:41:40.740" v="1335" actId="26606"/>
          <ac:spMkLst>
            <pc:docMk/>
            <pc:sldMk cId="1745079561" sldId="1291"/>
            <ac:spMk id="14" creationId="{37C89E4B-3C9F-44B9-8B86-D9E3D112D8EC}"/>
          </ac:spMkLst>
        </pc:spChg>
        <pc:spChg chg="add del">
          <ac:chgData name="Pushkar Admane" userId="fe3f8df7-1622-429f-ab36-7cc76201e871" providerId="ADAL" clId="{EB9BA360-7DDB-430C-BB39-75B2462019C5}" dt="2024-10-16T17:41:43.221" v="1337" actId="26606"/>
          <ac:spMkLst>
            <pc:docMk/>
            <pc:sldMk cId="1745079561" sldId="1291"/>
            <ac:spMk id="17" creationId="{08C9B587-E65E-4B52-B37C-ABEBB6E87928}"/>
          </ac:spMkLst>
        </pc:spChg>
        <pc:spChg chg="add del">
          <ac:chgData name="Pushkar Admane" userId="fe3f8df7-1622-429f-ab36-7cc76201e871" providerId="ADAL" clId="{EB9BA360-7DDB-430C-BB39-75B2462019C5}" dt="2024-10-16T17:41:43.221" v="1337" actId="26606"/>
          <ac:spMkLst>
            <pc:docMk/>
            <pc:sldMk cId="1745079561" sldId="1291"/>
            <ac:spMk id="18" creationId="{E91DC736-0EF8-4F87-9146-EBF1D2EE4D3D}"/>
          </ac:spMkLst>
        </pc:spChg>
        <pc:spChg chg="add del">
          <ac:chgData name="Pushkar Admane" userId="fe3f8df7-1622-429f-ab36-7cc76201e871" providerId="ADAL" clId="{EB9BA360-7DDB-430C-BB39-75B2462019C5}" dt="2024-10-16T17:41:43.221" v="1337" actId="26606"/>
          <ac:spMkLst>
            <pc:docMk/>
            <pc:sldMk cId="1745079561" sldId="1291"/>
            <ac:spMk id="19" creationId="{097CD68E-23E3-4007-8847-CD0944C4F7BE}"/>
          </ac:spMkLst>
        </pc:spChg>
        <pc:spChg chg="add del">
          <ac:chgData name="Pushkar Admane" userId="fe3f8df7-1622-429f-ab36-7cc76201e871" providerId="ADAL" clId="{EB9BA360-7DDB-430C-BB39-75B2462019C5}" dt="2024-10-16T17:41:43.221" v="1337" actId="26606"/>
          <ac:spMkLst>
            <pc:docMk/>
            <pc:sldMk cId="1745079561" sldId="1291"/>
            <ac:spMk id="20" creationId="{AF2F604E-43BE-4DC3-B983-E071523364F8}"/>
          </ac:spMkLst>
        </pc:spChg>
        <pc:spChg chg="add del">
          <ac:chgData name="Pushkar Admane" userId="fe3f8df7-1622-429f-ab36-7cc76201e871" providerId="ADAL" clId="{EB9BA360-7DDB-430C-BB39-75B2462019C5}" dt="2024-10-16T17:41:47.960" v="1339" actId="26606"/>
          <ac:spMkLst>
            <pc:docMk/>
            <pc:sldMk cId="1745079561" sldId="1291"/>
            <ac:spMk id="22" creationId="{9B7AD9F6-8CE7-4299-8FC6-328F4DCD3FF9}"/>
          </ac:spMkLst>
        </pc:spChg>
        <pc:spChg chg="add del">
          <ac:chgData name="Pushkar Admane" userId="fe3f8df7-1622-429f-ab36-7cc76201e871" providerId="ADAL" clId="{EB9BA360-7DDB-430C-BB39-75B2462019C5}" dt="2024-10-16T17:41:47.960" v="1339" actId="26606"/>
          <ac:spMkLst>
            <pc:docMk/>
            <pc:sldMk cId="1745079561" sldId="1291"/>
            <ac:spMk id="23" creationId="{F49775AF-8896-43EE-92C6-83497D6DC56F}"/>
          </ac:spMkLst>
        </pc:spChg>
        <pc:spChg chg="add del">
          <ac:chgData name="Pushkar Admane" userId="fe3f8df7-1622-429f-ab36-7cc76201e871" providerId="ADAL" clId="{EB9BA360-7DDB-430C-BB39-75B2462019C5}" dt="2024-10-16T17:42:01.057" v="1341" actId="26606"/>
          <ac:spMkLst>
            <pc:docMk/>
            <pc:sldMk cId="1745079561" sldId="1291"/>
            <ac:spMk id="25" creationId="{657F69E0-C4B0-4BEC-A689-4F8D877F05D4}"/>
          </ac:spMkLst>
        </pc:spChg>
        <pc:spChg chg="add del">
          <ac:chgData name="Pushkar Admane" userId="fe3f8df7-1622-429f-ab36-7cc76201e871" providerId="ADAL" clId="{EB9BA360-7DDB-430C-BB39-75B2462019C5}" dt="2024-10-16T17:42:01.057" v="1341" actId="26606"/>
          <ac:spMkLst>
            <pc:docMk/>
            <pc:sldMk cId="1745079561" sldId="1291"/>
            <ac:spMk id="26" creationId="{9F6380B4-6A1C-481E-8408-B4E6C75B9B81}"/>
          </ac:spMkLst>
        </pc:spChg>
        <pc:spChg chg="add del">
          <ac:chgData name="Pushkar Admane" userId="fe3f8df7-1622-429f-ab36-7cc76201e871" providerId="ADAL" clId="{EB9BA360-7DDB-430C-BB39-75B2462019C5}" dt="2024-10-16T17:42:09.399" v="1344" actId="26606"/>
          <ac:spMkLst>
            <pc:docMk/>
            <pc:sldMk cId="1745079561" sldId="1291"/>
            <ac:spMk id="28" creationId="{71B2258F-86CA-4D4D-8270-BC05FCDEBFB3}"/>
          </ac:spMkLst>
        </pc:spChg>
        <pc:spChg chg="add del">
          <ac:chgData name="Pushkar Admane" userId="fe3f8df7-1622-429f-ab36-7cc76201e871" providerId="ADAL" clId="{EB9BA360-7DDB-430C-BB39-75B2462019C5}" dt="2024-10-16T17:42:11.610" v="1346" actId="26606"/>
          <ac:spMkLst>
            <pc:docMk/>
            <pc:sldMk cId="1745079561" sldId="1291"/>
            <ac:spMk id="30" creationId="{657F69E0-C4B0-4BEC-A689-4F8D877F05D4}"/>
          </ac:spMkLst>
        </pc:spChg>
        <pc:spChg chg="add del">
          <ac:chgData name="Pushkar Admane" userId="fe3f8df7-1622-429f-ab36-7cc76201e871" providerId="ADAL" clId="{EB9BA360-7DDB-430C-BB39-75B2462019C5}" dt="2024-10-16T17:42:11.610" v="1346" actId="26606"/>
          <ac:spMkLst>
            <pc:docMk/>
            <pc:sldMk cId="1745079561" sldId="1291"/>
            <ac:spMk id="31" creationId="{9F6380B4-6A1C-481E-8408-B4E6C75B9B81}"/>
          </ac:spMkLst>
        </pc:spChg>
        <pc:spChg chg="add del">
          <ac:chgData name="Pushkar Admane" userId="fe3f8df7-1622-429f-ab36-7cc76201e871" providerId="ADAL" clId="{EB9BA360-7DDB-430C-BB39-75B2462019C5}" dt="2024-10-16T17:42:15.162" v="1348" actId="26606"/>
          <ac:spMkLst>
            <pc:docMk/>
            <pc:sldMk cId="1745079561" sldId="1291"/>
            <ac:spMk id="33" creationId="{9B7AD9F6-8CE7-4299-8FC6-328F4DCD3FF9}"/>
          </ac:spMkLst>
        </pc:spChg>
        <pc:spChg chg="add del">
          <ac:chgData name="Pushkar Admane" userId="fe3f8df7-1622-429f-ab36-7cc76201e871" providerId="ADAL" clId="{EB9BA360-7DDB-430C-BB39-75B2462019C5}" dt="2024-10-16T17:42:15.162" v="1348" actId="26606"/>
          <ac:spMkLst>
            <pc:docMk/>
            <pc:sldMk cId="1745079561" sldId="1291"/>
            <ac:spMk id="34" creationId="{F49775AF-8896-43EE-92C6-83497D6DC56F}"/>
          </ac:spMkLst>
        </pc:spChg>
        <pc:spChg chg="add">
          <ac:chgData name="Pushkar Admane" userId="fe3f8df7-1622-429f-ab36-7cc76201e871" providerId="ADAL" clId="{EB9BA360-7DDB-430C-BB39-75B2462019C5}" dt="2024-10-16T17:42:15.194" v="1349" actId="26606"/>
          <ac:spMkLst>
            <pc:docMk/>
            <pc:sldMk cId="1745079561" sldId="1291"/>
            <ac:spMk id="36" creationId="{657F69E0-C4B0-4BEC-A689-4F8D877F05D4}"/>
          </ac:spMkLst>
        </pc:spChg>
        <pc:spChg chg="add">
          <ac:chgData name="Pushkar Admane" userId="fe3f8df7-1622-429f-ab36-7cc76201e871" providerId="ADAL" clId="{EB9BA360-7DDB-430C-BB39-75B2462019C5}" dt="2024-10-16T17:42:15.194" v="1349" actId="26606"/>
          <ac:spMkLst>
            <pc:docMk/>
            <pc:sldMk cId="1745079561" sldId="1291"/>
            <ac:spMk id="37" creationId="{9F6380B4-6A1C-481E-8408-B4E6C75B9B81}"/>
          </ac:spMkLst>
        </pc:spChg>
        <pc:picChg chg="add mod">
          <ac:chgData name="Pushkar Admane" userId="fe3f8df7-1622-429f-ab36-7cc76201e871" providerId="ADAL" clId="{EB9BA360-7DDB-430C-BB39-75B2462019C5}" dt="2024-10-16T17:42:15.194" v="1349" actId="26606"/>
          <ac:picMkLst>
            <pc:docMk/>
            <pc:sldMk cId="1745079561" sldId="1291"/>
            <ac:picMk id="6" creationId="{C1641783-97BD-D607-4035-5CD19ADE5744}"/>
          </ac:picMkLst>
        </pc:picChg>
        <pc:cxnChg chg="add del">
          <ac:chgData name="Pushkar Admane" userId="fe3f8df7-1622-429f-ab36-7cc76201e871" providerId="ADAL" clId="{EB9BA360-7DDB-430C-BB39-75B2462019C5}" dt="2024-10-16T17:41:40.740" v="1335" actId="26606"/>
          <ac:cxnSpMkLst>
            <pc:docMk/>
            <pc:sldMk cId="1745079561" sldId="1291"/>
            <ac:cxnSpMk id="13" creationId="{AA2EAA10-076F-46BD-8F0F-B9A2FB77A85C}"/>
          </ac:cxnSpMkLst>
        </pc:cxnChg>
        <pc:cxnChg chg="add del">
          <ac:chgData name="Pushkar Admane" userId="fe3f8df7-1622-429f-ab36-7cc76201e871" providerId="ADAL" clId="{EB9BA360-7DDB-430C-BB39-75B2462019C5}" dt="2024-10-16T17:41:40.740" v="1335" actId="26606"/>
          <ac:cxnSpMkLst>
            <pc:docMk/>
            <pc:sldMk cId="1745079561" sldId="1291"/>
            <ac:cxnSpMk id="15" creationId="{D891E407-403B-4764-86C9-33A56D3BCAA3}"/>
          </ac:cxnSpMkLst>
        </pc:cxnChg>
      </pc:sldChg>
      <pc:sldChg chg="addSp delSp modSp new mod modClrScheme delAnim modAnim chgLayout">
        <pc:chgData name="Pushkar Admane" userId="fe3f8df7-1622-429f-ab36-7cc76201e871" providerId="ADAL" clId="{EB9BA360-7DDB-430C-BB39-75B2462019C5}" dt="2024-10-16T18:14:13.176" v="1540"/>
        <pc:sldMkLst>
          <pc:docMk/>
          <pc:sldMk cId="3560149335" sldId="1292"/>
        </pc:sldMkLst>
        <pc:spChg chg="del mod ord">
          <ac:chgData name="Pushkar Admane" userId="fe3f8df7-1622-429f-ab36-7cc76201e871" providerId="ADAL" clId="{EB9BA360-7DDB-430C-BB39-75B2462019C5}" dt="2024-10-16T18:01:36.490" v="1451" actId="478"/>
          <ac:spMkLst>
            <pc:docMk/>
            <pc:sldMk cId="3560149335" sldId="1292"/>
            <ac:spMk id="2" creationId="{B3507923-8C62-E47B-B117-A7A47D9CB4EA}"/>
          </ac:spMkLst>
        </pc:spChg>
        <pc:spChg chg="del mod ord">
          <ac:chgData name="Pushkar Admane" userId="fe3f8df7-1622-429f-ab36-7cc76201e871" providerId="ADAL" clId="{EB9BA360-7DDB-430C-BB39-75B2462019C5}" dt="2024-10-16T17:43:47.022" v="1353" actId="700"/>
          <ac:spMkLst>
            <pc:docMk/>
            <pc:sldMk cId="3560149335" sldId="1292"/>
            <ac:spMk id="3" creationId="{3B0AA1E9-84AB-CDC2-B912-0C9D22AC3051}"/>
          </ac:spMkLst>
        </pc:spChg>
        <pc:spChg chg="add del mod ord">
          <ac:chgData name="Pushkar Admane" userId="fe3f8df7-1622-429f-ab36-7cc76201e871" providerId="ADAL" clId="{EB9BA360-7DDB-430C-BB39-75B2462019C5}" dt="2024-10-16T17:44:26.109" v="1354"/>
          <ac:spMkLst>
            <pc:docMk/>
            <pc:sldMk cId="3560149335" sldId="1292"/>
            <ac:spMk id="4" creationId="{7E5ECA69-252A-E79A-3E7C-F67ABA62E08A}"/>
          </ac:spMkLst>
        </pc:spChg>
        <pc:spChg chg="add del mod ord">
          <ac:chgData name="Pushkar Admane" userId="fe3f8df7-1622-429f-ab36-7cc76201e871" providerId="ADAL" clId="{EB9BA360-7DDB-430C-BB39-75B2462019C5}" dt="2024-10-16T17:49:02.802" v="1410"/>
          <ac:spMkLst>
            <pc:docMk/>
            <pc:sldMk cId="3560149335" sldId="1292"/>
            <ac:spMk id="5" creationId="{75D170A3-B6A7-E681-685E-C34D0393E5A7}"/>
          </ac:spMkLst>
        </pc:spChg>
        <pc:spChg chg="add del mod">
          <ac:chgData name="Pushkar Admane" userId="fe3f8df7-1622-429f-ab36-7cc76201e871" providerId="ADAL" clId="{EB9BA360-7DDB-430C-BB39-75B2462019C5}" dt="2024-10-16T17:52:01.586" v="1443"/>
          <ac:spMkLst>
            <pc:docMk/>
            <pc:sldMk cId="3560149335" sldId="1292"/>
            <ac:spMk id="9" creationId="{AACF88E1-AC02-2067-7F94-E50CED4FE835}"/>
          </ac:spMkLst>
        </pc:spChg>
        <pc:spChg chg="add del mod">
          <ac:chgData name="Pushkar Admane" userId="fe3f8df7-1622-429f-ab36-7cc76201e871" providerId="ADAL" clId="{EB9BA360-7DDB-430C-BB39-75B2462019C5}" dt="2024-10-16T18:01:40.614" v="1452" actId="478"/>
          <ac:spMkLst>
            <pc:docMk/>
            <pc:sldMk cId="3560149335" sldId="1292"/>
            <ac:spMk id="13" creationId="{AA757DB6-512F-3F15-9882-6D8B5EF6B5FF}"/>
          </ac:spMkLst>
        </pc:spChg>
        <pc:spChg chg="add del mod">
          <ac:chgData name="Pushkar Admane" userId="fe3f8df7-1622-429f-ab36-7cc76201e871" providerId="ADAL" clId="{EB9BA360-7DDB-430C-BB39-75B2462019C5}" dt="2024-10-16T18:08:37.635" v="1516" actId="478"/>
          <ac:spMkLst>
            <pc:docMk/>
            <pc:sldMk cId="3560149335" sldId="1292"/>
            <ac:spMk id="15" creationId="{BAB35231-AA66-3CC8-D017-20A2B1427939}"/>
          </ac:spMkLst>
        </pc:spChg>
        <pc:picChg chg="add del mod">
          <ac:chgData name="Pushkar Admane" userId="fe3f8df7-1622-429f-ab36-7cc76201e871" providerId="ADAL" clId="{EB9BA360-7DDB-430C-BB39-75B2462019C5}" dt="2024-10-16T17:51:57.635" v="1442" actId="478"/>
          <ac:picMkLst>
            <pc:docMk/>
            <pc:sldMk cId="3560149335" sldId="1292"/>
            <ac:picMk id="6" creationId="{25E7E3B2-2939-5059-D731-5C91AF7C611E}"/>
          </ac:picMkLst>
        </pc:picChg>
        <pc:picChg chg="add mod">
          <ac:chgData name="Pushkar Admane" userId="fe3f8df7-1622-429f-ab36-7cc76201e871" providerId="ADAL" clId="{EB9BA360-7DDB-430C-BB39-75B2462019C5}" dt="2024-10-16T18:02:49.813" v="1462" actId="1076"/>
          <ac:picMkLst>
            <pc:docMk/>
            <pc:sldMk cId="3560149335" sldId="1292"/>
            <ac:picMk id="7" creationId="{A7AF5C44-311E-2F27-3405-777F2756474D}"/>
          </ac:picMkLst>
        </pc:picChg>
        <pc:picChg chg="add mod">
          <ac:chgData name="Pushkar Admane" userId="fe3f8df7-1622-429f-ab36-7cc76201e871" providerId="ADAL" clId="{EB9BA360-7DDB-430C-BB39-75B2462019C5}" dt="2024-10-16T18:03:00.448" v="1464" actId="14100"/>
          <ac:picMkLst>
            <pc:docMk/>
            <pc:sldMk cId="3560149335" sldId="1292"/>
            <ac:picMk id="10" creationId="{C97ACC95-4BE5-C484-14AE-F230C903FDFF}"/>
          </ac:picMkLst>
        </pc:picChg>
        <pc:picChg chg="add mod modCrop">
          <ac:chgData name="Pushkar Admane" userId="fe3f8df7-1622-429f-ab36-7cc76201e871" providerId="ADAL" clId="{EB9BA360-7DDB-430C-BB39-75B2462019C5}" dt="2024-10-16T18:11:36.457" v="1533" actId="1076"/>
          <ac:picMkLst>
            <pc:docMk/>
            <pc:sldMk cId="3560149335" sldId="1292"/>
            <ac:picMk id="11" creationId="{330B6322-50C0-97B6-DDBE-A9DB72FC3D4D}"/>
          </ac:picMkLst>
        </pc:picChg>
        <pc:picChg chg="add mod">
          <ac:chgData name="Pushkar Admane" userId="fe3f8df7-1622-429f-ab36-7cc76201e871" providerId="ADAL" clId="{EB9BA360-7DDB-430C-BB39-75B2462019C5}" dt="2024-10-16T18:08:25.952" v="1515" actId="688"/>
          <ac:picMkLst>
            <pc:docMk/>
            <pc:sldMk cId="3560149335" sldId="1292"/>
            <ac:picMk id="14" creationId="{D8B9DDF9-8DC1-D892-BC2F-173316A16826}"/>
          </ac:picMkLst>
        </pc:picChg>
        <pc:picChg chg="add del mod modCrop">
          <ac:chgData name="Pushkar Admane" userId="fe3f8df7-1622-429f-ab36-7cc76201e871" providerId="ADAL" clId="{EB9BA360-7DDB-430C-BB39-75B2462019C5}" dt="2024-10-16T18:10:37.210" v="1526" actId="478"/>
          <ac:picMkLst>
            <pc:docMk/>
            <pc:sldMk cId="3560149335" sldId="1292"/>
            <ac:picMk id="16" creationId="{24733525-2407-87E6-A9F0-F24B69870D06}"/>
          </ac:picMkLst>
        </pc:picChg>
        <pc:picChg chg="add mod">
          <ac:chgData name="Pushkar Admane" userId="fe3f8df7-1622-429f-ab36-7cc76201e871" providerId="ADAL" clId="{EB9BA360-7DDB-430C-BB39-75B2462019C5}" dt="2024-10-16T18:11:16.529" v="1531" actId="1076"/>
          <ac:picMkLst>
            <pc:docMk/>
            <pc:sldMk cId="3560149335" sldId="1292"/>
            <ac:picMk id="17" creationId="{13EE6181-D57C-9934-6E0F-D1EDF77B8381}"/>
          </ac:picMkLst>
        </pc:picChg>
      </pc:sldChg>
      <pc:sldChg chg="addSp delSp modSp add del mod">
        <pc:chgData name="Pushkar Admane" userId="fe3f8df7-1622-429f-ab36-7cc76201e871" providerId="ADAL" clId="{EB9BA360-7DDB-430C-BB39-75B2462019C5}" dt="2024-10-16T18:23:23.563" v="1634" actId="47"/>
        <pc:sldMkLst>
          <pc:docMk/>
          <pc:sldMk cId="2281342732" sldId="1293"/>
        </pc:sldMkLst>
        <pc:spChg chg="del">
          <ac:chgData name="Pushkar Admane" userId="fe3f8df7-1622-429f-ab36-7cc76201e871" providerId="ADAL" clId="{EB9BA360-7DDB-430C-BB39-75B2462019C5}" dt="2024-10-16T18:04:21.018" v="1473" actId="478"/>
          <ac:spMkLst>
            <pc:docMk/>
            <pc:sldMk cId="2281342732" sldId="1293"/>
            <ac:spMk id="2" creationId="{06200C1B-4F9C-4CFE-9A19-B5495650676A}"/>
          </ac:spMkLst>
        </pc:spChg>
        <pc:spChg chg="mod">
          <ac:chgData name="Pushkar Admane" userId="fe3f8df7-1622-429f-ab36-7cc76201e871" providerId="ADAL" clId="{EB9BA360-7DDB-430C-BB39-75B2462019C5}" dt="2024-10-16T18:05:51.948" v="1503" actId="1076"/>
          <ac:spMkLst>
            <pc:docMk/>
            <pc:sldMk cId="2281342732" sldId="1293"/>
            <ac:spMk id="3" creationId="{311350F8-4748-3067-CDFB-FF2E649A13BE}"/>
          </ac:spMkLst>
        </pc:spChg>
        <pc:spChg chg="add del mod">
          <ac:chgData name="Pushkar Admane" userId="fe3f8df7-1622-429f-ab36-7cc76201e871" providerId="ADAL" clId="{EB9BA360-7DDB-430C-BB39-75B2462019C5}" dt="2024-10-16T18:04:25.268" v="1474" actId="478"/>
          <ac:spMkLst>
            <pc:docMk/>
            <pc:sldMk cId="2281342732" sldId="1293"/>
            <ac:spMk id="5" creationId="{4BCBFEBD-1493-72C5-3AED-34B2A3C8F5B9}"/>
          </ac:spMkLst>
        </pc:spChg>
        <pc:spChg chg="mod">
          <ac:chgData name="Pushkar Admane" userId="fe3f8df7-1622-429f-ab36-7cc76201e871" providerId="ADAL" clId="{EB9BA360-7DDB-430C-BB39-75B2462019C5}" dt="2024-10-16T18:05:33.865" v="1501" actId="1037"/>
          <ac:spMkLst>
            <pc:docMk/>
            <pc:sldMk cId="2281342732" sldId="1293"/>
            <ac:spMk id="7" creationId="{A07D90FE-2423-4C4D-82B0-3E3FC5C3D037}"/>
          </ac:spMkLst>
        </pc:spChg>
        <pc:spChg chg="mod">
          <ac:chgData name="Pushkar Admane" userId="fe3f8df7-1622-429f-ab36-7cc76201e871" providerId="ADAL" clId="{EB9BA360-7DDB-430C-BB39-75B2462019C5}" dt="2024-10-16T18:05:27.108" v="1497" actId="1038"/>
          <ac:spMkLst>
            <pc:docMk/>
            <pc:sldMk cId="2281342732" sldId="1293"/>
            <ac:spMk id="8" creationId="{ABB489A1-0634-475D-BB4F-47D453CF4319}"/>
          </ac:spMkLst>
        </pc:spChg>
        <pc:spChg chg="mod">
          <ac:chgData name="Pushkar Admane" userId="fe3f8df7-1622-429f-ab36-7cc76201e871" providerId="ADAL" clId="{EB9BA360-7DDB-430C-BB39-75B2462019C5}" dt="2024-10-16T18:05:23.164" v="1494" actId="1038"/>
          <ac:spMkLst>
            <pc:docMk/>
            <pc:sldMk cId="2281342732" sldId="1293"/>
            <ac:spMk id="9" creationId="{3D0453DB-D1AE-407F-BB5B-19646DDC1181}"/>
          </ac:spMkLst>
        </pc:spChg>
        <pc:graphicFrameChg chg="mod">
          <ac:chgData name="Pushkar Admane" userId="fe3f8df7-1622-429f-ab36-7cc76201e871" providerId="ADAL" clId="{EB9BA360-7DDB-430C-BB39-75B2462019C5}" dt="2024-10-16T18:04:13.645" v="1472" actId="14100"/>
          <ac:graphicFrameMkLst>
            <pc:docMk/>
            <pc:sldMk cId="2281342732" sldId="1293"/>
            <ac:graphicFrameMk id="6" creationId="{9356B6C9-6DEA-4635-8262-BDA1F787F647}"/>
          </ac:graphicFrameMkLst>
        </pc:graphicFrameChg>
      </pc:sldChg>
      <pc:sldChg chg="delSp modSp add del mod">
        <pc:chgData name="Pushkar Admane" userId="fe3f8df7-1622-429f-ab36-7cc76201e871" providerId="ADAL" clId="{EB9BA360-7DDB-430C-BB39-75B2462019C5}" dt="2024-10-16T18:03:37.506" v="1466" actId="47"/>
        <pc:sldMkLst>
          <pc:docMk/>
          <pc:sldMk cId="2747404091" sldId="1293"/>
        </pc:sldMkLst>
        <pc:spChg chg="del">
          <ac:chgData name="Pushkar Admane" userId="fe3f8df7-1622-429f-ab36-7cc76201e871" providerId="ADAL" clId="{EB9BA360-7DDB-430C-BB39-75B2462019C5}" dt="2024-10-16T17:47:17.270" v="1376" actId="478"/>
          <ac:spMkLst>
            <pc:docMk/>
            <pc:sldMk cId="2747404091" sldId="1293"/>
            <ac:spMk id="2" creationId="{00000000-0000-0000-0000-000000000000}"/>
          </ac:spMkLst>
        </pc:spChg>
        <pc:spChg chg="mod ord">
          <ac:chgData name="Pushkar Admane" userId="fe3f8df7-1622-429f-ab36-7cc76201e871" providerId="ADAL" clId="{EB9BA360-7DDB-430C-BB39-75B2462019C5}" dt="2024-10-16T17:48:37.029" v="1408" actId="1035"/>
          <ac:spMkLst>
            <pc:docMk/>
            <pc:sldMk cId="2747404091" sldId="1293"/>
            <ac:spMk id="5" creationId="{A23CD3FF-E507-EE4F-9871-A2F9301165F9}"/>
          </ac:spMkLst>
        </pc:spChg>
        <pc:spChg chg="del">
          <ac:chgData name="Pushkar Admane" userId="fe3f8df7-1622-429f-ab36-7cc76201e871" providerId="ADAL" clId="{EB9BA360-7DDB-430C-BB39-75B2462019C5}" dt="2024-10-16T17:48:45.522" v="1409" actId="478"/>
          <ac:spMkLst>
            <pc:docMk/>
            <pc:sldMk cId="2747404091" sldId="1293"/>
            <ac:spMk id="14" creationId="{0147E085-9EB8-4DB2-8B1D-66D37CB8E0BB}"/>
          </ac:spMkLst>
        </pc:spChg>
        <pc:spChg chg="del mod">
          <ac:chgData name="Pushkar Admane" userId="fe3f8df7-1622-429f-ab36-7cc76201e871" providerId="ADAL" clId="{EB9BA360-7DDB-430C-BB39-75B2462019C5}" dt="2024-10-16T17:47:09.962" v="1374" actId="478"/>
          <ac:spMkLst>
            <pc:docMk/>
            <pc:sldMk cId="2747404091" sldId="1293"/>
            <ac:spMk id="44" creationId="{072C82C7-2930-445E-A185-415CA2ECB8B7}"/>
          </ac:spMkLst>
        </pc:spChg>
        <pc:spChg chg="del">
          <ac:chgData name="Pushkar Admane" userId="fe3f8df7-1622-429f-ab36-7cc76201e871" providerId="ADAL" clId="{EB9BA360-7DDB-430C-BB39-75B2462019C5}" dt="2024-10-16T17:47:14.696" v="1375" actId="478"/>
          <ac:spMkLst>
            <pc:docMk/>
            <pc:sldMk cId="2747404091" sldId="1293"/>
            <ac:spMk id="49" creationId="{FAA320A7-DC34-4B02-8CA7-BC6108990789}"/>
          </ac:spMkLst>
        </pc:spChg>
        <pc:picChg chg="mod">
          <ac:chgData name="Pushkar Admane" userId="fe3f8df7-1622-429f-ab36-7cc76201e871" providerId="ADAL" clId="{EB9BA360-7DDB-430C-BB39-75B2462019C5}" dt="2024-10-16T17:47:32.893" v="1380" actId="14100"/>
          <ac:picMkLst>
            <pc:docMk/>
            <pc:sldMk cId="2747404091" sldId="1293"/>
            <ac:picMk id="35" creationId="{E0A0BC96-6DAC-4951-9E63-F2508FBB6F4A}"/>
          </ac:picMkLst>
        </pc:picChg>
      </pc:sldChg>
      <pc:sldChg chg="addSp delSp modSp add del mod">
        <pc:chgData name="Pushkar Admane" userId="fe3f8df7-1622-429f-ab36-7cc76201e871" providerId="ADAL" clId="{EB9BA360-7DDB-430C-BB39-75B2462019C5}" dt="2024-10-16T18:03:23.065" v="1465" actId="47"/>
        <pc:sldMkLst>
          <pc:docMk/>
          <pc:sldMk cId="1009969265" sldId="1294"/>
        </pc:sldMkLst>
        <pc:spChg chg="mod">
          <ac:chgData name="Pushkar Admane" userId="fe3f8df7-1622-429f-ab36-7cc76201e871" providerId="ADAL" clId="{EB9BA360-7DDB-430C-BB39-75B2462019C5}" dt="2024-10-16T17:50:11.719" v="1431" actId="404"/>
          <ac:spMkLst>
            <pc:docMk/>
            <pc:sldMk cId="1009969265" sldId="1294"/>
            <ac:spMk id="2" creationId="{8A90CFEF-4A49-EC58-2AFA-0A935C6E7A8D}"/>
          </ac:spMkLst>
        </pc:spChg>
        <pc:spChg chg="mod">
          <ac:chgData name="Pushkar Admane" userId="fe3f8df7-1622-429f-ab36-7cc76201e871" providerId="ADAL" clId="{EB9BA360-7DDB-430C-BB39-75B2462019C5}" dt="2024-10-16T17:51:32.469" v="1441" actId="1076"/>
          <ac:spMkLst>
            <pc:docMk/>
            <pc:sldMk cId="1009969265" sldId="1294"/>
            <ac:spMk id="7" creationId="{558C2368-4944-1FE2-C1FF-E389246A2A3B}"/>
          </ac:spMkLst>
        </pc:spChg>
        <pc:spChg chg="add del mod">
          <ac:chgData name="Pushkar Admane" userId="fe3f8df7-1622-429f-ab36-7cc76201e871" providerId="ADAL" clId="{EB9BA360-7DDB-430C-BB39-75B2462019C5}" dt="2024-10-16T17:50:46.850" v="1438" actId="478"/>
          <ac:spMkLst>
            <pc:docMk/>
            <pc:sldMk cId="1009969265" sldId="1294"/>
            <ac:spMk id="9" creationId="{D10F9C09-54F4-B7DE-1D5B-7908BA620BDC}"/>
          </ac:spMkLst>
        </pc:spChg>
        <pc:graphicFrameChg chg="mod">
          <ac:chgData name="Pushkar Admane" userId="fe3f8df7-1622-429f-ab36-7cc76201e871" providerId="ADAL" clId="{EB9BA360-7DDB-430C-BB39-75B2462019C5}" dt="2024-10-16T17:51:32.469" v="1441" actId="1076"/>
          <ac:graphicFrameMkLst>
            <pc:docMk/>
            <pc:sldMk cId="1009969265" sldId="1294"/>
            <ac:graphicFrameMk id="6" creationId="{8579EC5B-9FFA-7FEF-0A36-C4EE04AFCC0E}"/>
          </ac:graphicFrameMkLst>
        </pc:graphicFrameChg>
        <pc:picChg chg="del">
          <ac:chgData name="Pushkar Admane" userId="fe3f8df7-1622-429f-ab36-7cc76201e871" providerId="ADAL" clId="{EB9BA360-7DDB-430C-BB39-75B2462019C5}" dt="2024-10-16T17:50:31.607" v="1433" actId="478"/>
          <ac:picMkLst>
            <pc:docMk/>
            <pc:sldMk cId="1009969265" sldId="1294"/>
            <ac:picMk id="4" creationId="{AF35DF63-5F82-4440-12B3-F69B77D8C896}"/>
          </ac:picMkLst>
        </pc:picChg>
        <pc:picChg chg="del">
          <ac:chgData name="Pushkar Admane" userId="fe3f8df7-1622-429f-ab36-7cc76201e871" providerId="ADAL" clId="{EB9BA360-7DDB-430C-BB39-75B2462019C5}" dt="2024-10-16T17:50:33.962" v="1434" actId="478"/>
          <ac:picMkLst>
            <pc:docMk/>
            <pc:sldMk cId="1009969265" sldId="1294"/>
            <ac:picMk id="5" creationId="{EC7FEB66-C562-59B3-EC05-4545E3F5CAB1}"/>
          </ac:picMkLst>
        </pc:picChg>
        <pc:picChg chg="del">
          <ac:chgData name="Pushkar Admane" userId="fe3f8df7-1622-429f-ab36-7cc76201e871" providerId="ADAL" clId="{EB9BA360-7DDB-430C-BB39-75B2462019C5}" dt="2024-10-16T17:50:27.520" v="1432" actId="478"/>
          <ac:picMkLst>
            <pc:docMk/>
            <pc:sldMk cId="1009969265" sldId="1294"/>
            <ac:picMk id="8" creationId="{A19CCDAE-EFD5-1672-F186-5CABAAE198D2}"/>
          </ac:picMkLst>
        </pc:picChg>
        <pc:picChg chg="del">
          <ac:chgData name="Pushkar Admane" userId="fe3f8df7-1622-429f-ab36-7cc76201e871" providerId="ADAL" clId="{EB9BA360-7DDB-430C-BB39-75B2462019C5}" dt="2024-10-16T17:50:37.381" v="1435" actId="478"/>
          <ac:picMkLst>
            <pc:docMk/>
            <pc:sldMk cId="1009969265" sldId="1294"/>
            <ac:picMk id="3074" creationId="{52494A87-39D9-5787-B443-FB7ED02F29FA}"/>
          </ac:picMkLst>
        </pc:picChg>
      </pc:sldChg>
      <pc:sldChg chg="add">
        <pc:chgData name="Pushkar Admane" userId="fe3f8df7-1622-429f-ab36-7cc76201e871" providerId="ADAL" clId="{EB9BA360-7DDB-430C-BB39-75B2462019C5}" dt="2024-10-16T18:07:41.799" v="1509" actId="2890"/>
        <pc:sldMkLst>
          <pc:docMk/>
          <pc:sldMk cId="3641604092" sldId="1294"/>
        </pc:sldMkLst>
      </pc:sldChg>
    </pc:docChg>
  </pc:docChgLst>
</pc:chgInfo>
</file>

<file path=ppt/diagrams/_rels/data12.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image" Target="../media/image31.png"/><Relationship Id="rId1" Type="http://schemas.openxmlformats.org/officeDocument/2006/relationships/image" Target="../media/image30.png"/><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diagrams/_rels/drawing12.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image" Target="../media/image31.png"/><Relationship Id="rId1" Type="http://schemas.openxmlformats.org/officeDocument/2006/relationships/image" Target="../media/image30.png"/><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colorful3#1">
  <dgm:title val=""/>
  <dgm:desc val=""/>
  <dgm:catLst>
    <dgm:cat type="colorful" pri="10300"/>
  </dgm:catLst>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3C5FB32-C078-2440-8D3B-4AB66A395942}" type="doc">
      <dgm:prSet loTypeId="urn:microsoft.com/office/officeart/2005/8/layout/cycle7" loCatId="" qsTypeId="urn:microsoft.com/office/officeart/2005/8/quickstyle/simple4" qsCatId="simple" csTypeId="urn:microsoft.com/office/officeart/2005/8/colors/colorful2" csCatId="colorful" phldr="1"/>
      <dgm:spPr/>
      <dgm:t>
        <a:bodyPr/>
        <a:lstStyle/>
        <a:p>
          <a:endParaRPr lang="en-GB"/>
        </a:p>
      </dgm:t>
    </dgm:pt>
    <dgm:pt modelId="{35256491-4BB2-0841-9FDF-C61BDC84F2B0}">
      <dgm:prSet phldrT="[Text]" custT="1"/>
      <dgm:spPr/>
      <dgm:t>
        <a:bodyPr/>
        <a:lstStyle/>
        <a:p>
          <a:r>
            <a:rPr lang="en-GB" sz="1600" dirty="0" err="1"/>
            <a:t>HbS</a:t>
          </a:r>
          <a:r>
            <a:rPr lang="en-GB" sz="1600" dirty="0"/>
            <a:t> polymerisation/</a:t>
          </a:r>
        </a:p>
        <a:p>
          <a:r>
            <a:rPr lang="en-GB" sz="1600" dirty="0"/>
            <a:t>Sickling</a:t>
          </a:r>
        </a:p>
      </dgm:t>
    </dgm:pt>
    <dgm:pt modelId="{34F93A9F-21C6-E647-807A-8A8DCA4383FD}" type="parTrans" cxnId="{9EB90203-8862-0743-9BC3-3B9B55336D99}">
      <dgm:prSet/>
      <dgm:spPr/>
      <dgm:t>
        <a:bodyPr/>
        <a:lstStyle/>
        <a:p>
          <a:endParaRPr lang="en-GB"/>
        </a:p>
      </dgm:t>
    </dgm:pt>
    <dgm:pt modelId="{1604A0BF-2115-D943-A98F-581C0AE547DF}" type="sibTrans" cxnId="{9EB90203-8862-0743-9BC3-3B9B55336D99}">
      <dgm:prSet/>
      <dgm:spPr/>
      <dgm:t>
        <a:bodyPr/>
        <a:lstStyle/>
        <a:p>
          <a:endParaRPr lang="en-GB"/>
        </a:p>
      </dgm:t>
    </dgm:pt>
    <dgm:pt modelId="{BEF58F21-D471-D24E-8569-962C7D9370EF}">
      <dgm:prSet phldrT="[Text]" custT="1"/>
      <dgm:spPr/>
      <dgm:t>
        <a:bodyPr/>
        <a:lstStyle/>
        <a:p>
          <a:r>
            <a:rPr lang="en-GB" sz="1600" dirty="0"/>
            <a:t>Vaso-occlusive process</a:t>
          </a:r>
        </a:p>
      </dgm:t>
    </dgm:pt>
    <dgm:pt modelId="{884C8569-9999-4242-9A8C-9743E2551A5E}" type="parTrans" cxnId="{9C4E965E-1970-6649-BDDF-076669E926D7}">
      <dgm:prSet/>
      <dgm:spPr/>
      <dgm:t>
        <a:bodyPr/>
        <a:lstStyle/>
        <a:p>
          <a:endParaRPr lang="en-GB"/>
        </a:p>
      </dgm:t>
    </dgm:pt>
    <dgm:pt modelId="{8823853C-0E85-804A-AB01-D01DFFE6D5AD}" type="sibTrans" cxnId="{9C4E965E-1970-6649-BDDF-076669E926D7}">
      <dgm:prSet/>
      <dgm:spPr/>
      <dgm:t>
        <a:bodyPr/>
        <a:lstStyle/>
        <a:p>
          <a:endParaRPr lang="en-GB"/>
        </a:p>
      </dgm:t>
    </dgm:pt>
    <dgm:pt modelId="{DF75B016-5FD9-1640-A428-A0DC2E166DE0}">
      <dgm:prSet phldrT="[Text]" custT="1"/>
      <dgm:spPr/>
      <dgm:t>
        <a:bodyPr/>
        <a:lstStyle/>
        <a:p>
          <a:r>
            <a:rPr lang="en-GB" sz="1600" dirty="0"/>
            <a:t>Intravascular </a:t>
          </a:r>
          <a:r>
            <a:rPr lang="en-GB" sz="1600" dirty="0" err="1"/>
            <a:t>hemolysis</a:t>
          </a:r>
          <a:endParaRPr lang="en-GB" sz="1600" dirty="0"/>
        </a:p>
      </dgm:t>
    </dgm:pt>
    <dgm:pt modelId="{858863F8-1887-5E4D-82F4-42DF46DDF68F}" type="parTrans" cxnId="{40B9DBD7-82B1-4B4C-9278-0FC4DBBF713D}">
      <dgm:prSet/>
      <dgm:spPr/>
      <dgm:t>
        <a:bodyPr/>
        <a:lstStyle/>
        <a:p>
          <a:endParaRPr lang="en-GB"/>
        </a:p>
      </dgm:t>
    </dgm:pt>
    <dgm:pt modelId="{C5A8BAC5-259B-E04D-A8E5-EAA3FB21F322}" type="sibTrans" cxnId="{40B9DBD7-82B1-4B4C-9278-0FC4DBBF713D}">
      <dgm:prSet/>
      <dgm:spPr/>
      <dgm:t>
        <a:bodyPr/>
        <a:lstStyle/>
        <a:p>
          <a:endParaRPr lang="en-GB"/>
        </a:p>
      </dgm:t>
    </dgm:pt>
    <dgm:pt modelId="{451CEF4B-AF28-7D41-91A7-8D5A37D0AAA0}" type="pres">
      <dgm:prSet presAssocID="{F3C5FB32-C078-2440-8D3B-4AB66A395942}" presName="Name0" presStyleCnt="0">
        <dgm:presLayoutVars>
          <dgm:dir/>
          <dgm:resizeHandles val="exact"/>
        </dgm:presLayoutVars>
      </dgm:prSet>
      <dgm:spPr/>
    </dgm:pt>
    <dgm:pt modelId="{CE424AA7-D6C8-5A42-AB23-545092FB56D8}" type="pres">
      <dgm:prSet presAssocID="{35256491-4BB2-0841-9FDF-C61BDC84F2B0}" presName="node" presStyleLbl="node1" presStyleIdx="0" presStyleCnt="3" custScaleY="64936">
        <dgm:presLayoutVars>
          <dgm:bulletEnabled val="1"/>
        </dgm:presLayoutVars>
      </dgm:prSet>
      <dgm:spPr/>
    </dgm:pt>
    <dgm:pt modelId="{85124719-A409-CC4F-B135-BB01AF765CE2}" type="pres">
      <dgm:prSet presAssocID="{1604A0BF-2115-D943-A98F-581C0AE547DF}" presName="sibTrans" presStyleLbl="sibTrans2D1" presStyleIdx="0" presStyleCnt="3" custScaleX="212956" custLinFactNeighborX="16905" custLinFactNeighborY="-25046"/>
      <dgm:spPr/>
    </dgm:pt>
    <dgm:pt modelId="{7C013517-52F1-6240-B247-D2E142929C72}" type="pres">
      <dgm:prSet presAssocID="{1604A0BF-2115-D943-A98F-581C0AE547DF}" presName="connectorText" presStyleLbl="sibTrans2D1" presStyleIdx="0" presStyleCnt="3"/>
      <dgm:spPr/>
    </dgm:pt>
    <dgm:pt modelId="{75E57A18-44E1-9E47-8959-C9CAE0554C68}" type="pres">
      <dgm:prSet presAssocID="{BEF58F21-D471-D24E-8569-962C7D9370EF}" presName="node" presStyleLbl="node1" presStyleIdx="1" presStyleCnt="3" custScaleY="64936">
        <dgm:presLayoutVars>
          <dgm:bulletEnabled val="1"/>
        </dgm:presLayoutVars>
      </dgm:prSet>
      <dgm:spPr/>
    </dgm:pt>
    <dgm:pt modelId="{3364586D-9FB7-494D-A169-D31729A31A63}" type="pres">
      <dgm:prSet presAssocID="{8823853C-0E85-804A-AB01-D01DFFE6D5AD}" presName="sibTrans" presStyleLbl="sibTrans2D1" presStyleIdx="1" presStyleCnt="3"/>
      <dgm:spPr/>
    </dgm:pt>
    <dgm:pt modelId="{4E065C14-A47B-9E4C-8245-94BC90DF4305}" type="pres">
      <dgm:prSet presAssocID="{8823853C-0E85-804A-AB01-D01DFFE6D5AD}" presName="connectorText" presStyleLbl="sibTrans2D1" presStyleIdx="1" presStyleCnt="3"/>
      <dgm:spPr/>
    </dgm:pt>
    <dgm:pt modelId="{23D5937B-FF6F-D44E-9038-CD9F062D723F}" type="pres">
      <dgm:prSet presAssocID="{DF75B016-5FD9-1640-A428-A0DC2E166DE0}" presName="node" presStyleLbl="node1" presStyleIdx="2" presStyleCnt="3" custScaleY="64936">
        <dgm:presLayoutVars>
          <dgm:bulletEnabled val="1"/>
        </dgm:presLayoutVars>
      </dgm:prSet>
      <dgm:spPr/>
    </dgm:pt>
    <dgm:pt modelId="{AE81906A-23E7-ED4D-8D05-18BB6CA3D7B9}" type="pres">
      <dgm:prSet presAssocID="{C5A8BAC5-259B-E04D-A8E5-EAA3FB21F322}" presName="sibTrans" presStyleLbl="sibTrans2D1" presStyleIdx="2" presStyleCnt="3" custScaleX="210457" custLinFactNeighborX="-29583" custLinFactNeighborY="-25046"/>
      <dgm:spPr/>
    </dgm:pt>
    <dgm:pt modelId="{F774CEE5-B991-294D-A763-78CBEDC0B216}" type="pres">
      <dgm:prSet presAssocID="{C5A8BAC5-259B-E04D-A8E5-EAA3FB21F322}" presName="connectorText" presStyleLbl="sibTrans2D1" presStyleIdx="2" presStyleCnt="3"/>
      <dgm:spPr/>
    </dgm:pt>
  </dgm:ptLst>
  <dgm:cxnLst>
    <dgm:cxn modelId="{E53A5101-8C6F-9A4C-922F-B995CFD881CB}" type="presOf" srcId="{8823853C-0E85-804A-AB01-D01DFFE6D5AD}" destId="{3364586D-9FB7-494D-A169-D31729A31A63}" srcOrd="0" destOrd="0" presId="urn:microsoft.com/office/officeart/2005/8/layout/cycle7"/>
    <dgm:cxn modelId="{9EB90203-8862-0743-9BC3-3B9B55336D99}" srcId="{F3C5FB32-C078-2440-8D3B-4AB66A395942}" destId="{35256491-4BB2-0841-9FDF-C61BDC84F2B0}" srcOrd="0" destOrd="0" parTransId="{34F93A9F-21C6-E647-807A-8A8DCA4383FD}" sibTransId="{1604A0BF-2115-D943-A98F-581C0AE547DF}"/>
    <dgm:cxn modelId="{2F3B5F06-4712-8846-8AF6-C86692017264}" type="presOf" srcId="{F3C5FB32-C078-2440-8D3B-4AB66A395942}" destId="{451CEF4B-AF28-7D41-91A7-8D5A37D0AAA0}" srcOrd="0" destOrd="0" presId="urn:microsoft.com/office/officeart/2005/8/layout/cycle7"/>
    <dgm:cxn modelId="{CADA9008-58C0-5B4A-B361-68DBAFB59A58}" type="presOf" srcId="{DF75B016-5FD9-1640-A428-A0DC2E166DE0}" destId="{23D5937B-FF6F-D44E-9038-CD9F062D723F}" srcOrd="0" destOrd="0" presId="urn:microsoft.com/office/officeart/2005/8/layout/cycle7"/>
    <dgm:cxn modelId="{F04BC63A-CD00-BD42-8E8A-BA1CD67E487D}" type="presOf" srcId="{C5A8BAC5-259B-E04D-A8E5-EAA3FB21F322}" destId="{F774CEE5-B991-294D-A763-78CBEDC0B216}" srcOrd="1" destOrd="0" presId="urn:microsoft.com/office/officeart/2005/8/layout/cycle7"/>
    <dgm:cxn modelId="{9C4E965E-1970-6649-BDDF-076669E926D7}" srcId="{F3C5FB32-C078-2440-8D3B-4AB66A395942}" destId="{BEF58F21-D471-D24E-8569-962C7D9370EF}" srcOrd="1" destOrd="0" parTransId="{884C8569-9999-4242-9A8C-9743E2551A5E}" sibTransId="{8823853C-0E85-804A-AB01-D01DFFE6D5AD}"/>
    <dgm:cxn modelId="{471DFA4E-AC2A-034E-9BCE-A935ADA6BEB3}" type="presOf" srcId="{BEF58F21-D471-D24E-8569-962C7D9370EF}" destId="{75E57A18-44E1-9E47-8959-C9CAE0554C68}" srcOrd="0" destOrd="0" presId="urn:microsoft.com/office/officeart/2005/8/layout/cycle7"/>
    <dgm:cxn modelId="{4B9A8F82-4AC0-7149-B5E4-FCE51D22A0DF}" type="presOf" srcId="{8823853C-0E85-804A-AB01-D01DFFE6D5AD}" destId="{4E065C14-A47B-9E4C-8245-94BC90DF4305}" srcOrd="1" destOrd="0" presId="urn:microsoft.com/office/officeart/2005/8/layout/cycle7"/>
    <dgm:cxn modelId="{F1FEAF9B-7260-7945-BCF3-3A14FD1968A8}" type="presOf" srcId="{C5A8BAC5-259B-E04D-A8E5-EAA3FB21F322}" destId="{AE81906A-23E7-ED4D-8D05-18BB6CA3D7B9}" srcOrd="0" destOrd="0" presId="urn:microsoft.com/office/officeart/2005/8/layout/cycle7"/>
    <dgm:cxn modelId="{5CA238BE-6518-B24A-8F6A-A67F30B45BA3}" type="presOf" srcId="{35256491-4BB2-0841-9FDF-C61BDC84F2B0}" destId="{CE424AA7-D6C8-5A42-AB23-545092FB56D8}" srcOrd="0" destOrd="0" presId="urn:microsoft.com/office/officeart/2005/8/layout/cycle7"/>
    <dgm:cxn modelId="{76D378C1-137A-084E-BEC0-EC9C01691719}" type="presOf" srcId="{1604A0BF-2115-D943-A98F-581C0AE547DF}" destId="{85124719-A409-CC4F-B135-BB01AF765CE2}" srcOrd="0" destOrd="0" presId="urn:microsoft.com/office/officeart/2005/8/layout/cycle7"/>
    <dgm:cxn modelId="{CDC947C2-AB89-1F43-87CA-B5CC8CDFCB1C}" type="presOf" srcId="{1604A0BF-2115-D943-A98F-581C0AE547DF}" destId="{7C013517-52F1-6240-B247-D2E142929C72}" srcOrd="1" destOrd="0" presId="urn:microsoft.com/office/officeart/2005/8/layout/cycle7"/>
    <dgm:cxn modelId="{40B9DBD7-82B1-4B4C-9278-0FC4DBBF713D}" srcId="{F3C5FB32-C078-2440-8D3B-4AB66A395942}" destId="{DF75B016-5FD9-1640-A428-A0DC2E166DE0}" srcOrd="2" destOrd="0" parTransId="{858863F8-1887-5E4D-82F4-42DF46DDF68F}" sibTransId="{C5A8BAC5-259B-E04D-A8E5-EAA3FB21F322}"/>
    <dgm:cxn modelId="{C48A7B90-3E43-0644-BCE1-0C3868FC39B5}" type="presParOf" srcId="{451CEF4B-AF28-7D41-91A7-8D5A37D0AAA0}" destId="{CE424AA7-D6C8-5A42-AB23-545092FB56D8}" srcOrd="0" destOrd="0" presId="urn:microsoft.com/office/officeart/2005/8/layout/cycle7"/>
    <dgm:cxn modelId="{05ABD3CA-69CE-F34B-934A-22168FE2C13E}" type="presParOf" srcId="{451CEF4B-AF28-7D41-91A7-8D5A37D0AAA0}" destId="{85124719-A409-CC4F-B135-BB01AF765CE2}" srcOrd="1" destOrd="0" presId="urn:microsoft.com/office/officeart/2005/8/layout/cycle7"/>
    <dgm:cxn modelId="{2EF7141D-6A7E-9A43-93E2-EB22BDBBD622}" type="presParOf" srcId="{85124719-A409-CC4F-B135-BB01AF765CE2}" destId="{7C013517-52F1-6240-B247-D2E142929C72}" srcOrd="0" destOrd="0" presId="urn:microsoft.com/office/officeart/2005/8/layout/cycle7"/>
    <dgm:cxn modelId="{B3D8BF36-B878-0C45-8B36-E7E8BE6A66BF}" type="presParOf" srcId="{451CEF4B-AF28-7D41-91A7-8D5A37D0AAA0}" destId="{75E57A18-44E1-9E47-8959-C9CAE0554C68}" srcOrd="2" destOrd="0" presId="urn:microsoft.com/office/officeart/2005/8/layout/cycle7"/>
    <dgm:cxn modelId="{ACB141C1-39C1-7645-A04A-F689CD1D9119}" type="presParOf" srcId="{451CEF4B-AF28-7D41-91A7-8D5A37D0AAA0}" destId="{3364586D-9FB7-494D-A169-D31729A31A63}" srcOrd="3" destOrd="0" presId="urn:microsoft.com/office/officeart/2005/8/layout/cycle7"/>
    <dgm:cxn modelId="{9DD737BA-9BF1-0447-A75D-D3E71F5435BF}" type="presParOf" srcId="{3364586D-9FB7-494D-A169-D31729A31A63}" destId="{4E065C14-A47B-9E4C-8245-94BC90DF4305}" srcOrd="0" destOrd="0" presId="urn:microsoft.com/office/officeart/2005/8/layout/cycle7"/>
    <dgm:cxn modelId="{D309EF6A-641F-B943-98CC-3BAD1DA16915}" type="presParOf" srcId="{451CEF4B-AF28-7D41-91A7-8D5A37D0AAA0}" destId="{23D5937B-FF6F-D44E-9038-CD9F062D723F}" srcOrd="4" destOrd="0" presId="urn:microsoft.com/office/officeart/2005/8/layout/cycle7"/>
    <dgm:cxn modelId="{6D61DC49-0425-7F49-ACA7-6B07DB1797C0}" type="presParOf" srcId="{451CEF4B-AF28-7D41-91A7-8D5A37D0AAA0}" destId="{AE81906A-23E7-ED4D-8D05-18BB6CA3D7B9}" srcOrd="5" destOrd="0" presId="urn:microsoft.com/office/officeart/2005/8/layout/cycle7"/>
    <dgm:cxn modelId="{85BF67BB-4E36-CB42-9E58-D57FB390B3C7}" type="presParOf" srcId="{AE81906A-23E7-ED4D-8D05-18BB6CA3D7B9}" destId="{F774CEE5-B991-294D-A763-78CBEDC0B216}" srcOrd="0" destOrd="0" presId="urn:microsoft.com/office/officeart/2005/8/layout/cycle7"/>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C8E6A3FF-9C78-4CF4-8AD9-DE3EAE0B156D}"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A78089BE-7D95-4760-BC58-67B425B9647A}">
      <dgm:prSet phldrT="[Text]" custT="1"/>
      <dgm:spPr>
        <a:solidFill>
          <a:srgbClr val="002060"/>
        </a:solidFill>
      </dgm:spPr>
      <dgm:t>
        <a:bodyPr/>
        <a:lstStyle/>
        <a:p>
          <a:pPr algn="ctr"/>
          <a:r>
            <a:rPr lang="en-US" sz="4000" dirty="0"/>
            <a:t>Elevated Tricuspid Jet Velocity or NT-BNP</a:t>
          </a:r>
        </a:p>
        <a:p>
          <a:pPr algn="ctr"/>
          <a:endParaRPr lang="en-US" sz="4000" dirty="0"/>
        </a:p>
        <a:p>
          <a:pPr algn="l"/>
          <a:r>
            <a:rPr lang="en-US" sz="3600" dirty="0">
              <a:latin typeface="+mn-lt"/>
            </a:rPr>
            <a:t>-Standard care</a:t>
          </a:r>
        </a:p>
        <a:p>
          <a:pPr algn="l"/>
          <a:r>
            <a:rPr lang="en-US" sz="3600" dirty="0">
              <a:latin typeface="+mn-lt"/>
            </a:rPr>
            <a:t>-Echocardiogram if symptomatic</a:t>
          </a:r>
        </a:p>
        <a:p>
          <a:pPr algn="l"/>
          <a:r>
            <a:rPr lang="en-US" sz="3600" dirty="0">
              <a:latin typeface="+mn-lt"/>
            </a:rPr>
            <a:t>-Referral if TRV </a:t>
          </a:r>
          <a:r>
            <a:rPr lang="en-US" sz="3600" dirty="0">
              <a:latin typeface="+mn-lt"/>
              <a:cs typeface="Calibri" panose="020F0502020204030204" pitchFamily="34" charset="0"/>
            </a:rPr>
            <a:t>≥2.5 m/sec</a:t>
          </a:r>
          <a:endParaRPr lang="en-US" sz="3600" dirty="0">
            <a:latin typeface="+mn-lt"/>
          </a:endParaRPr>
        </a:p>
      </dgm:t>
    </dgm:pt>
    <dgm:pt modelId="{CD4D5670-6AAF-497C-90B7-84EA2BCABA33}" type="parTrans" cxnId="{FDFAB4BB-FC18-407C-9FF4-23334F345CB6}">
      <dgm:prSet/>
      <dgm:spPr/>
      <dgm:t>
        <a:bodyPr/>
        <a:lstStyle/>
        <a:p>
          <a:endParaRPr lang="en-US"/>
        </a:p>
      </dgm:t>
    </dgm:pt>
    <dgm:pt modelId="{011BA8AF-68EA-4CE4-8379-5091355E57C0}" type="sibTrans" cxnId="{FDFAB4BB-FC18-407C-9FF4-23334F345CB6}">
      <dgm:prSet/>
      <dgm:spPr/>
      <dgm:t>
        <a:bodyPr/>
        <a:lstStyle/>
        <a:p>
          <a:endParaRPr lang="en-US"/>
        </a:p>
      </dgm:t>
    </dgm:pt>
    <dgm:pt modelId="{708D01CE-1AA4-462D-A541-D25C2707BD0A}" type="pres">
      <dgm:prSet presAssocID="{C8E6A3FF-9C78-4CF4-8AD9-DE3EAE0B156D}" presName="diagram" presStyleCnt="0">
        <dgm:presLayoutVars>
          <dgm:dir/>
          <dgm:resizeHandles val="exact"/>
        </dgm:presLayoutVars>
      </dgm:prSet>
      <dgm:spPr/>
    </dgm:pt>
    <dgm:pt modelId="{964C67CC-32D3-4D0D-BB66-C56021D16521}" type="pres">
      <dgm:prSet presAssocID="{A78089BE-7D95-4760-BC58-67B425B9647A}" presName="node" presStyleLbl="node1" presStyleIdx="0" presStyleCnt="1" custLinFactNeighborY="-24427">
        <dgm:presLayoutVars>
          <dgm:bulletEnabled val="1"/>
        </dgm:presLayoutVars>
      </dgm:prSet>
      <dgm:spPr/>
    </dgm:pt>
  </dgm:ptLst>
  <dgm:cxnLst>
    <dgm:cxn modelId="{683C7955-5219-4A59-9C63-761E3C1E5E28}" type="presOf" srcId="{C8E6A3FF-9C78-4CF4-8AD9-DE3EAE0B156D}" destId="{708D01CE-1AA4-462D-A541-D25C2707BD0A}" srcOrd="0" destOrd="0" presId="urn:microsoft.com/office/officeart/2005/8/layout/default"/>
    <dgm:cxn modelId="{FDFAB4BB-FC18-407C-9FF4-23334F345CB6}" srcId="{C8E6A3FF-9C78-4CF4-8AD9-DE3EAE0B156D}" destId="{A78089BE-7D95-4760-BC58-67B425B9647A}" srcOrd="0" destOrd="0" parTransId="{CD4D5670-6AAF-497C-90B7-84EA2BCABA33}" sibTransId="{011BA8AF-68EA-4CE4-8379-5091355E57C0}"/>
    <dgm:cxn modelId="{CCF797E0-6910-4477-BE6B-AF20C27B388A}" type="presOf" srcId="{A78089BE-7D95-4760-BC58-67B425B9647A}" destId="{964C67CC-32D3-4D0D-BB66-C56021D16521}" srcOrd="0" destOrd="0" presId="urn:microsoft.com/office/officeart/2005/8/layout/default"/>
    <dgm:cxn modelId="{4F986A5F-53AF-43B5-8D21-C69661C56B7B}" type="presParOf" srcId="{708D01CE-1AA4-462D-A541-D25C2707BD0A}" destId="{964C67CC-32D3-4D0D-BB66-C56021D16521}" srcOrd="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C8E6A3FF-9C78-4CF4-8AD9-DE3EAE0B156D}"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164BBC9E-BF6A-4888-876C-D372173F066F}">
      <dgm:prSet phldrT="[Text]" custT="1"/>
      <dgm:spPr>
        <a:solidFill>
          <a:srgbClr val="002060"/>
        </a:solidFill>
      </dgm:spPr>
      <dgm:t>
        <a:bodyPr/>
        <a:lstStyle/>
        <a:p>
          <a:pPr algn="ctr"/>
          <a:r>
            <a:rPr lang="en-US" sz="4000" dirty="0"/>
            <a:t>Renal</a:t>
          </a:r>
        </a:p>
        <a:p>
          <a:pPr algn="ctr"/>
          <a:endParaRPr lang="en-US" sz="4000" dirty="0">
            <a:latin typeface="+mn-lt"/>
          </a:endParaRPr>
        </a:p>
        <a:p>
          <a:pPr algn="l"/>
          <a:r>
            <a:rPr lang="en-US" sz="3600" dirty="0">
              <a:latin typeface="+mn-lt"/>
            </a:rPr>
            <a:t>-Screen for proteinuria beginning at age </a:t>
          </a:r>
          <a:r>
            <a:rPr lang="en-US" sz="3600">
              <a:latin typeface="+mn-lt"/>
            </a:rPr>
            <a:t>5-6</a:t>
          </a:r>
          <a:r>
            <a:rPr lang="en-US" sz="3600">
              <a:latin typeface="+mn-lt"/>
              <a:cs typeface="Calibri" panose="020F0502020204030204" pitchFamily="34" charset="0"/>
            </a:rPr>
            <a:t> years</a:t>
          </a:r>
          <a:endParaRPr lang="en-US" sz="3600" dirty="0">
            <a:latin typeface="+mn-lt"/>
          </a:endParaRPr>
        </a:p>
        <a:p>
          <a:pPr algn="l"/>
          <a:r>
            <a:rPr lang="en-US" sz="3600" dirty="0">
              <a:latin typeface="+mn-lt"/>
            </a:rPr>
            <a:t>-ACE-I or ARB if albuminuria</a:t>
          </a:r>
        </a:p>
      </dgm:t>
    </dgm:pt>
    <dgm:pt modelId="{8F19AD36-FE08-40A1-964B-C2593D29E36E}" type="parTrans" cxnId="{EE0D0580-CDE0-43C5-80AB-157B9D173AA3}">
      <dgm:prSet/>
      <dgm:spPr/>
      <dgm:t>
        <a:bodyPr/>
        <a:lstStyle/>
        <a:p>
          <a:endParaRPr lang="en-US"/>
        </a:p>
      </dgm:t>
    </dgm:pt>
    <dgm:pt modelId="{E64DD307-A901-42E0-9DCF-48591898197B}" type="sibTrans" cxnId="{EE0D0580-CDE0-43C5-80AB-157B9D173AA3}">
      <dgm:prSet/>
      <dgm:spPr/>
      <dgm:t>
        <a:bodyPr/>
        <a:lstStyle/>
        <a:p>
          <a:endParaRPr lang="en-US"/>
        </a:p>
      </dgm:t>
    </dgm:pt>
    <dgm:pt modelId="{708D01CE-1AA4-462D-A541-D25C2707BD0A}" type="pres">
      <dgm:prSet presAssocID="{C8E6A3FF-9C78-4CF4-8AD9-DE3EAE0B156D}" presName="diagram" presStyleCnt="0">
        <dgm:presLayoutVars>
          <dgm:dir/>
          <dgm:resizeHandles val="exact"/>
        </dgm:presLayoutVars>
      </dgm:prSet>
      <dgm:spPr/>
    </dgm:pt>
    <dgm:pt modelId="{2DD5DB10-D680-4C51-A853-A4B7C87D1A4E}" type="pres">
      <dgm:prSet presAssocID="{164BBC9E-BF6A-4888-876C-D372173F066F}" presName="node" presStyleLbl="node1" presStyleIdx="0" presStyleCnt="1" custLinFactNeighborY="-24427">
        <dgm:presLayoutVars>
          <dgm:bulletEnabled val="1"/>
        </dgm:presLayoutVars>
      </dgm:prSet>
      <dgm:spPr/>
    </dgm:pt>
  </dgm:ptLst>
  <dgm:cxnLst>
    <dgm:cxn modelId="{DC3C4835-E1C9-4424-A3E9-3D8B885D01E2}" type="presOf" srcId="{164BBC9E-BF6A-4888-876C-D372173F066F}" destId="{2DD5DB10-D680-4C51-A853-A4B7C87D1A4E}" srcOrd="0" destOrd="0" presId="urn:microsoft.com/office/officeart/2005/8/layout/default"/>
    <dgm:cxn modelId="{683C7955-5219-4A59-9C63-761E3C1E5E28}" type="presOf" srcId="{C8E6A3FF-9C78-4CF4-8AD9-DE3EAE0B156D}" destId="{708D01CE-1AA4-462D-A541-D25C2707BD0A}" srcOrd="0" destOrd="0" presId="urn:microsoft.com/office/officeart/2005/8/layout/default"/>
    <dgm:cxn modelId="{EE0D0580-CDE0-43C5-80AB-157B9D173AA3}" srcId="{C8E6A3FF-9C78-4CF4-8AD9-DE3EAE0B156D}" destId="{164BBC9E-BF6A-4888-876C-D372173F066F}" srcOrd="0" destOrd="0" parTransId="{8F19AD36-FE08-40A1-964B-C2593D29E36E}" sibTransId="{E64DD307-A901-42E0-9DCF-48591898197B}"/>
    <dgm:cxn modelId="{41AC4E32-E3A6-4E81-96CD-E6CE701BEEC7}" type="presParOf" srcId="{708D01CE-1AA4-462D-A541-D25C2707BD0A}" destId="{2DD5DB10-D680-4C51-A853-A4B7C87D1A4E}" srcOrd="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EF008DC2-66FA-49CF-AA09-71D164819F6F}" type="doc">
      <dgm:prSet loTypeId="urn:microsoft.com/office/officeart/2008/layout/BendingPictureBlocks" loCatId="picture" qsTypeId="urn:microsoft.com/office/officeart/2005/8/quickstyle/simple1#1" qsCatId="simple" csTypeId="urn:microsoft.com/office/officeart/2005/8/colors/colorful3#1" csCatId="colorful" phldr="1"/>
      <dgm:spPr/>
      <dgm:t>
        <a:bodyPr/>
        <a:lstStyle/>
        <a:p>
          <a:endParaRPr lang="en-IN"/>
        </a:p>
      </dgm:t>
    </dgm:pt>
    <dgm:pt modelId="{B125BCC4-1024-4909-9201-C7BA9B104AC6}">
      <dgm:prSet phldrT="[Text]" custT="1"/>
      <dgm:spPr/>
      <dgm:t>
        <a:bodyPr/>
        <a:lstStyle/>
        <a:p>
          <a:r>
            <a:rPr lang="en-IN" sz="1600" b="1" dirty="0">
              <a:solidFill>
                <a:schemeClr val="tx1"/>
              </a:solidFill>
            </a:rPr>
            <a:t>SPIROMETER</a:t>
          </a:r>
        </a:p>
      </dgm:t>
    </dgm:pt>
    <dgm:pt modelId="{558A8848-8185-4D73-8703-868F0D03855F}" type="parTrans" cxnId="{D94DF56B-785D-4597-BF58-ACB8D430E9D3}">
      <dgm:prSet/>
      <dgm:spPr/>
      <dgm:t>
        <a:bodyPr/>
        <a:lstStyle/>
        <a:p>
          <a:endParaRPr lang="en-IN"/>
        </a:p>
      </dgm:t>
    </dgm:pt>
    <dgm:pt modelId="{60851B66-180F-4D49-9D79-E3CEE05EABAB}" type="sibTrans" cxnId="{D94DF56B-785D-4597-BF58-ACB8D430E9D3}">
      <dgm:prSet/>
      <dgm:spPr/>
      <dgm:t>
        <a:bodyPr/>
        <a:lstStyle/>
        <a:p>
          <a:endParaRPr lang="en-IN"/>
        </a:p>
      </dgm:t>
    </dgm:pt>
    <dgm:pt modelId="{B86C100F-9A1C-481E-8207-D5BC7B11BF57}">
      <dgm:prSet custT="1"/>
      <dgm:spPr/>
      <dgm:t>
        <a:bodyPr/>
        <a:lstStyle/>
        <a:p>
          <a:r>
            <a:rPr lang="en-IN" sz="1800" b="1" dirty="0">
              <a:solidFill>
                <a:schemeClr val="tx1"/>
              </a:solidFill>
            </a:rPr>
            <a:t>MASK</a:t>
          </a:r>
        </a:p>
      </dgm:t>
    </dgm:pt>
    <dgm:pt modelId="{894841E3-4C8C-41B2-B0BB-CEB49B01B7F9}" type="parTrans" cxnId="{07DEBE38-86CC-4374-8531-44BD735555EB}">
      <dgm:prSet/>
      <dgm:spPr/>
      <dgm:t>
        <a:bodyPr/>
        <a:lstStyle/>
        <a:p>
          <a:endParaRPr lang="en-IN"/>
        </a:p>
      </dgm:t>
    </dgm:pt>
    <dgm:pt modelId="{185AB9B0-54A2-4E99-9105-CA14557A9276}" type="sibTrans" cxnId="{07DEBE38-86CC-4374-8531-44BD735555EB}">
      <dgm:prSet/>
      <dgm:spPr/>
      <dgm:t>
        <a:bodyPr/>
        <a:lstStyle/>
        <a:p>
          <a:endParaRPr lang="en-IN"/>
        </a:p>
      </dgm:t>
    </dgm:pt>
    <dgm:pt modelId="{AE6F1C40-9ED2-44B4-8B72-6AA61A5B5622}">
      <dgm:prSet custT="1"/>
      <dgm:spPr/>
      <dgm:t>
        <a:bodyPr/>
        <a:lstStyle/>
        <a:p>
          <a:r>
            <a:rPr lang="en-IN" sz="1600" b="1" dirty="0">
              <a:solidFill>
                <a:schemeClr val="tx1"/>
              </a:solidFill>
            </a:rPr>
            <a:t>TABLETS</a:t>
          </a:r>
        </a:p>
      </dgm:t>
    </dgm:pt>
    <dgm:pt modelId="{26918117-D0D3-4E17-A9AD-566BC6D54FFC}" type="parTrans" cxnId="{1470DE78-CD22-4579-890D-53020C3B6177}">
      <dgm:prSet/>
      <dgm:spPr/>
      <dgm:t>
        <a:bodyPr/>
        <a:lstStyle/>
        <a:p>
          <a:endParaRPr lang="en-IN"/>
        </a:p>
      </dgm:t>
    </dgm:pt>
    <dgm:pt modelId="{3BC875CA-AB3E-43B0-AF83-E07FE177571F}" type="sibTrans" cxnId="{1470DE78-CD22-4579-890D-53020C3B6177}">
      <dgm:prSet/>
      <dgm:spPr/>
      <dgm:t>
        <a:bodyPr/>
        <a:lstStyle/>
        <a:p>
          <a:endParaRPr lang="en-IN"/>
        </a:p>
      </dgm:t>
    </dgm:pt>
    <dgm:pt modelId="{62004385-516F-4330-B9C3-1735B8E85B93}">
      <dgm:prSet custT="1"/>
      <dgm:spPr/>
      <dgm:t>
        <a:bodyPr/>
        <a:lstStyle/>
        <a:p>
          <a:r>
            <a:rPr lang="en-IN" sz="1600" b="1" dirty="0">
              <a:solidFill>
                <a:schemeClr val="tx1"/>
              </a:solidFill>
            </a:rPr>
            <a:t>PULSE OXIMETER</a:t>
          </a:r>
        </a:p>
      </dgm:t>
    </dgm:pt>
    <dgm:pt modelId="{2BD08875-6BA4-47A5-8AF8-BE9722341597}" type="parTrans" cxnId="{1E4D3FF5-A402-4FD3-8588-E02BB4B7FA8B}">
      <dgm:prSet/>
      <dgm:spPr/>
      <dgm:t>
        <a:bodyPr/>
        <a:lstStyle/>
        <a:p>
          <a:endParaRPr lang="en-IN"/>
        </a:p>
      </dgm:t>
    </dgm:pt>
    <dgm:pt modelId="{AAA27DA2-F5FE-43C4-998A-28276E211E09}" type="sibTrans" cxnId="{1E4D3FF5-A402-4FD3-8588-E02BB4B7FA8B}">
      <dgm:prSet/>
      <dgm:spPr/>
      <dgm:t>
        <a:bodyPr/>
        <a:lstStyle/>
        <a:p>
          <a:endParaRPr lang="en-IN"/>
        </a:p>
      </dgm:t>
    </dgm:pt>
    <dgm:pt modelId="{02B09495-D6ED-4867-BEEF-4FDBEF8D8274}">
      <dgm:prSet custT="1"/>
      <dgm:spPr/>
      <dgm:t>
        <a:bodyPr/>
        <a:lstStyle/>
        <a:p>
          <a:r>
            <a:rPr lang="en-IN" sz="1400" b="1" dirty="0">
              <a:solidFill>
                <a:schemeClr val="tx1"/>
              </a:solidFill>
            </a:rPr>
            <a:t>WATER BOTTLE</a:t>
          </a:r>
        </a:p>
      </dgm:t>
    </dgm:pt>
    <dgm:pt modelId="{762B7579-FF36-4F9A-96F0-67CE71EDB2A8}" type="parTrans" cxnId="{FF7A0381-979E-4FA1-8A26-76778B8DC5D1}">
      <dgm:prSet/>
      <dgm:spPr/>
      <dgm:t>
        <a:bodyPr/>
        <a:lstStyle/>
        <a:p>
          <a:endParaRPr lang="en-IN"/>
        </a:p>
      </dgm:t>
    </dgm:pt>
    <dgm:pt modelId="{64EB5C30-01F1-4C70-BD95-28D4EEA60695}" type="sibTrans" cxnId="{FF7A0381-979E-4FA1-8A26-76778B8DC5D1}">
      <dgm:prSet/>
      <dgm:spPr/>
      <dgm:t>
        <a:bodyPr/>
        <a:lstStyle/>
        <a:p>
          <a:endParaRPr lang="en-IN"/>
        </a:p>
      </dgm:t>
    </dgm:pt>
    <dgm:pt modelId="{951AADC1-47DC-46B5-96EE-F65202BFB29A}">
      <dgm:prSet custT="1"/>
      <dgm:spPr/>
      <dgm:t>
        <a:bodyPr/>
        <a:lstStyle/>
        <a:p>
          <a:r>
            <a:rPr lang="en-IN" sz="1600" b="1" dirty="0">
              <a:solidFill>
                <a:schemeClr val="tx1"/>
              </a:solidFill>
            </a:rPr>
            <a:t>MARKER</a:t>
          </a:r>
        </a:p>
      </dgm:t>
    </dgm:pt>
    <dgm:pt modelId="{B4F5C971-ABCA-4A1A-92E5-405A9DCFF41A}" type="parTrans" cxnId="{8ABDE885-D974-4AF7-8A9A-5DC987381C30}">
      <dgm:prSet/>
      <dgm:spPr/>
      <dgm:t>
        <a:bodyPr/>
        <a:lstStyle/>
        <a:p>
          <a:endParaRPr lang="en-IN"/>
        </a:p>
      </dgm:t>
    </dgm:pt>
    <dgm:pt modelId="{09C9B83C-A5D6-4DCE-92DD-1E6DE0818CB4}" type="sibTrans" cxnId="{8ABDE885-D974-4AF7-8A9A-5DC987381C30}">
      <dgm:prSet/>
      <dgm:spPr/>
      <dgm:t>
        <a:bodyPr/>
        <a:lstStyle/>
        <a:p>
          <a:endParaRPr lang="en-IN"/>
        </a:p>
      </dgm:t>
    </dgm:pt>
    <dgm:pt modelId="{7FFB466D-0932-47EB-9EBB-5C67297FD6F9}">
      <dgm:prSet phldrT="[Text]" custT="1"/>
      <dgm:spPr/>
      <dgm:t>
        <a:bodyPr/>
        <a:lstStyle/>
        <a:p>
          <a:r>
            <a:rPr lang="en-IN" sz="1600" b="1" dirty="0">
              <a:solidFill>
                <a:schemeClr val="tx1"/>
              </a:solidFill>
            </a:rPr>
            <a:t>THERMOMETER</a:t>
          </a:r>
        </a:p>
      </dgm:t>
    </dgm:pt>
    <dgm:pt modelId="{5492717D-6684-4158-9E64-5861DB7C71BF}" type="sibTrans" cxnId="{D71BB50E-E11C-4B76-86E4-C5B0E33ED7A5}">
      <dgm:prSet/>
      <dgm:spPr/>
      <dgm:t>
        <a:bodyPr/>
        <a:lstStyle/>
        <a:p>
          <a:endParaRPr lang="en-IN"/>
        </a:p>
      </dgm:t>
    </dgm:pt>
    <dgm:pt modelId="{30CE4E4F-4CC7-4160-8694-EEFC58E78F0C}" type="parTrans" cxnId="{D71BB50E-E11C-4B76-86E4-C5B0E33ED7A5}">
      <dgm:prSet/>
      <dgm:spPr/>
      <dgm:t>
        <a:bodyPr/>
        <a:lstStyle/>
        <a:p>
          <a:endParaRPr lang="en-IN"/>
        </a:p>
      </dgm:t>
    </dgm:pt>
    <dgm:pt modelId="{D72F6BEA-99F8-43EE-8FB1-C2D467188A49}" type="pres">
      <dgm:prSet presAssocID="{EF008DC2-66FA-49CF-AA09-71D164819F6F}" presName="Name0" presStyleCnt="0">
        <dgm:presLayoutVars>
          <dgm:dir/>
          <dgm:resizeHandles/>
        </dgm:presLayoutVars>
      </dgm:prSet>
      <dgm:spPr/>
    </dgm:pt>
    <dgm:pt modelId="{B50060AC-3379-4590-A636-48764FD71557}" type="pres">
      <dgm:prSet presAssocID="{7FFB466D-0932-47EB-9EBB-5C67297FD6F9}" presName="composite" presStyleCnt="0"/>
      <dgm:spPr/>
    </dgm:pt>
    <dgm:pt modelId="{854459C7-5EC2-4ADB-B203-40EC0C64A368}" type="pres">
      <dgm:prSet presAssocID="{7FFB466D-0932-47EB-9EBB-5C67297FD6F9}" presName="rect1" presStyleLbl="bgImgPlace1" presStyleIdx="0" presStyleCnt="7" custScaleX="82616" custScaleY="94089"/>
      <dgm:spPr>
        <a:blipFill rotWithShape="1">
          <a:blip xmlns:r="http://schemas.openxmlformats.org/officeDocument/2006/relationships" r:embed="rId1"/>
          <a:stretch>
            <a:fillRect/>
          </a:stretch>
        </a:blipFill>
      </dgm:spPr>
    </dgm:pt>
    <dgm:pt modelId="{DCD54B3B-D872-4FC5-8E8E-90EFA97E5945}" type="pres">
      <dgm:prSet presAssocID="{7FFB466D-0932-47EB-9EBB-5C67297FD6F9}" presName="rect2" presStyleLbl="node1" presStyleIdx="0" presStyleCnt="7">
        <dgm:presLayoutVars>
          <dgm:bulletEnabled val="1"/>
        </dgm:presLayoutVars>
      </dgm:prSet>
      <dgm:spPr/>
    </dgm:pt>
    <dgm:pt modelId="{E2770B49-EB07-40A1-AD44-62FE0FC38E80}" type="pres">
      <dgm:prSet presAssocID="{5492717D-6684-4158-9E64-5861DB7C71BF}" presName="sibTrans" presStyleCnt="0"/>
      <dgm:spPr/>
    </dgm:pt>
    <dgm:pt modelId="{8B529542-47F7-4EA9-A197-837E9C2EA088}" type="pres">
      <dgm:prSet presAssocID="{B86C100F-9A1C-481E-8207-D5BC7B11BF57}" presName="composite" presStyleCnt="0"/>
      <dgm:spPr/>
    </dgm:pt>
    <dgm:pt modelId="{1670C910-1462-402A-B9A9-E4DBD1BC4F09}" type="pres">
      <dgm:prSet presAssocID="{B86C100F-9A1C-481E-8207-D5BC7B11BF57}" presName="rect1" presStyleLbl="bgImgPlace1" presStyleIdx="1" presStyleCnt="7" custLinFactNeighborX="-857" custLinFactNeighborY="-589"/>
      <dgm:spPr>
        <a:blipFill rotWithShape="1">
          <a:blip xmlns:r="http://schemas.openxmlformats.org/officeDocument/2006/relationships" r:embed="rId2"/>
          <a:stretch>
            <a:fillRect/>
          </a:stretch>
        </a:blipFill>
      </dgm:spPr>
    </dgm:pt>
    <dgm:pt modelId="{9778B364-1BE6-4B0B-A1D3-3E8DA8632936}" type="pres">
      <dgm:prSet presAssocID="{B86C100F-9A1C-481E-8207-D5BC7B11BF57}" presName="rect2" presStyleLbl="node1" presStyleIdx="1" presStyleCnt="7">
        <dgm:presLayoutVars>
          <dgm:bulletEnabled val="1"/>
        </dgm:presLayoutVars>
      </dgm:prSet>
      <dgm:spPr/>
    </dgm:pt>
    <dgm:pt modelId="{803BE8C8-09D3-4AA7-B8BC-FD847E766A2F}" type="pres">
      <dgm:prSet presAssocID="{185AB9B0-54A2-4E99-9105-CA14557A9276}" presName="sibTrans" presStyleCnt="0"/>
      <dgm:spPr/>
    </dgm:pt>
    <dgm:pt modelId="{F4490482-AC9D-42A5-9B18-C1574A9D6D0C}" type="pres">
      <dgm:prSet presAssocID="{62004385-516F-4330-B9C3-1735B8E85B93}" presName="composite" presStyleCnt="0"/>
      <dgm:spPr/>
    </dgm:pt>
    <dgm:pt modelId="{32DBCF44-EAFB-4D42-90BE-EA958F4593F0}" type="pres">
      <dgm:prSet presAssocID="{62004385-516F-4330-B9C3-1735B8E85B93}" presName="rect1" presStyleLbl="bgImgPlace1" presStyleIdx="2" presStyleCnt="7"/>
      <dgm:spPr>
        <a:blipFill rotWithShape="1">
          <a:blip xmlns:r="http://schemas.openxmlformats.org/officeDocument/2006/relationships" r:embed="rId3"/>
          <a:stretch>
            <a:fillRect/>
          </a:stretch>
        </a:blipFill>
      </dgm:spPr>
    </dgm:pt>
    <dgm:pt modelId="{64FC455C-F48C-4B8C-8D19-654F2DAD05BA}" type="pres">
      <dgm:prSet presAssocID="{62004385-516F-4330-B9C3-1735B8E85B93}" presName="rect2" presStyleLbl="node1" presStyleIdx="2" presStyleCnt="7">
        <dgm:presLayoutVars>
          <dgm:bulletEnabled val="1"/>
        </dgm:presLayoutVars>
      </dgm:prSet>
      <dgm:spPr/>
    </dgm:pt>
    <dgm:pt modelId="{02FD6249-D54E-4FBE-8CBA-430BC06BFFF1}" type="pres">
      <dgm:prSet presAssocID="{AAA27DA2-F5FE-43C4-998A-28276E211E09}" presName="sibTrans" presStyleCnt="0"/>
      <dgm:spPr/>
    </dgm:pt>
    <dgm:pt modelId="{DD7B8057-69B3-44D5-937E-B3399B0089D1}" type="pres">
      <dgm:prSet presAssocID="{B125BCC4-1024-4909-9201-C7BA9B104AC6}" presName="composite" presStyleCnt="0"/>
      <dgm:spPr/>
    </dgm:pt>
    <dgm:pt modelId="{C21B8CAA-83E9-4B68-BBD1-5D679A6D7573}" type="pres">
      <dgm:prSet presAssocID="{B125BCC4-1024-4909-9201-C7BA9B104AC6}" presName="rect1" presStyleLbl="bgImgPlace1" presStyleIdx="3" presStyleCnt="7"/>
      <dgm:spPr>
        <a:blipFill rotWithShape="1">
          <a:blip xmlns:r="http://schemas.openxmlformats.org/officeDocument/2006/relationships" r:embed="rId4"/>
          <a:stretch>
            <a:fillRect/>
          </a:stretch>
        </a:blipFill>
      </dgm:spPr>
    </dgm:pt>
    <dgm:pt modelId="{2347C370-0649-4145-9408-D29A553B7377}" type="pres">
      <dgm:prSet presAssocID="{B125BCC4-1024-4909-9201-C7BA9B104AC6}" presName="rect2" presStyleLbl="node1" presStyleIdx="3" presStyleCnt="7">
        <dgm:presLayoutVars>
          <dgm:bulletEnabled val="1"/>
        </dgm:presLayoutVars>
      </dgm:prSet>
      <dgm:spPr/>
    </dgm:pt>
    <dgm:pt modelId="{16951E50-5E95-4906-8578-B06C489FF944}" type="pres">
      <dgm:prSet presAssocID="{60851B66-180F-4D49-9D79-E3CEE05EABAB}" presName="sibTrans" presStyleCnt="0"/>
      <dgm:spPr/>
    </dgm:pt>
    <dgm:pt modelId="{4B48776A-A72B-4386-B1C7-C825C881ECFE}" type="pres">
      <dgm:prSet presAssocID="{AE6F1C40-9ED2-44B4-8B72-6AA61A5B5622}" presName="composite" presStyleCnt="0"/>
      <dgm:spPr/>
    </dgm:pt>
    <dgm:pt modelId="{040478E8-3F64-450E-9DAB-DB53C05E8F76}" type="pres">
      <dgm:prSet presAssocID="{AE6F1C40-9ED2-44B4-8B72-6AA61A5B5622}" presName="rect1" presStyleLbl="bgImgPlace1" presStyleIdx="4" presStyleCnt="7"/>
      <dgm:spPr>
        <a:blipFill rotWithShape="1">
          <a:blip xmlns:r="http://schemas.openxmlformats.org/officeDocument/2006/relationships" r:embed="rId5"/>
          <a:stretch>
            <a:fillRect/>
          </a:stretch>
        </a:blipFill>
      </dgm:spPr>
    </dgm:pt>
    <dgm:pt modelId="{1F6C04C0-A95F-482F-AF43-924C263E0838}" type="pres">
      <dgm:prSet presAssocID="{AE6F1C40-9ED2-44B4-8B72-6AA61A5B5622}" presName="rect2" presStyleLbl="node1" presStyleIdx="4" presStyleCnt="7">
        <dgm:presLayoutVars>
          <dgm:bulletEnabled val="1"/>
        </dgm:presLayoutVars>
      </dgm:prSet>
      <dgm:spPr/>
    </dgm:pt>
    <dgm:pt modelId="{E9091120-FD08-4C7B-A1DB-0B2759F45DCB}" type="pres">
      <dgm:prSet presAssocID="{3BC875CA-AB3E-43B0-AF83-E07FE177571F}" presName="sibTrans" presStyleCnt="0"/>
      <dgm:spPr/>
    </dgm:pt>
    <dgm:pt modelId="{D8F59F8F-1479-48FE-9FC9-FDE5D96C4374}" type="pres">
      <dgm:prSet presAssocID="{02B09495-D6ED-4867-BEEF-4FDBEF8D8274}" presName="composite" presStyleCnt="0"/>
      <dgm:spPr/>
    </dgm:pt>
    <dgm:pt modelId="{C1D91B36-AB1C-4538-8228-F6D8B64E0C1B}" type="pres">
      <dgm:prSet presAssocID="{02B09495-D6ED-4867-BEEF-4FDBEF8D8274}" presName="rect1" presStyleLbl="bgImgPlace1" presStyleIdx="5" presStyleCnt="7"/>
      <dgm:spPr>
        <a:blipFill rotWithShape="1">
          <a:blip xmlns:r="http://schemas.openxmlformats.org/officeDocument/2006/relationships" r:embed="rId6"/>
          <a:stretch>
            <a:fillRect/>
          </a:stretch>
        </a:blipFill>
      </dgm:spPr>
    </dgm:pt>
    <dgm:pt modelId="{F1436FD4-9FC4-4C7A-9C39-8691784F6FDD}" type="pres">
      <dgm:prSet presAssocID="{02B09495-D6ED-4867-BEEF-4FDBEF8D8274}" presName="rect2" presStyleLbl="node1" presStyleIdx="5" presStyleCnt="7">
        <dgm:presLayoutVars>
          <dgm:bulletEnabled val="1"/>
        </dgm:presLayoutVars>
      </dgm:prSet>
      <dgm:spPr/>
    </dgm:pt>
    <dgm:pt modelId="{459F3F2F-F098-4FAD-986E-DDD3D9DC414E}" type="pres">
      <dgm:prSet presAssocID="{64EB5C30-01F1-4C70-BD95-28D4EEA60695}" presName="sibTrans" presStyleCnt="0"/>
      <dgm:spPr/>
    </dgm:pt>
    <dgm:pt modelId="{33405582-4924-4C5D-8EE6-288FD9AC8A4B}" type="pres">
      <dgm:prSet presAssocID="{951AADC1-47DC-46B5-96EE-F65202BFB29A}" presName="composite" presStyleCnt="0"/>
      <dgm:spPr/>
    </dgm:pt>
    <dgm:pt modelId="{3B182F8F-FBDE-47A3-833C-615DCD512553}" type="pres">
      <dgm:prSet presAssocID="{951AADC1-47DC-46B5-96EE-F65202BFB29A}" presName="rect1" presStyleLbl="bgImgPlace1" presStyleIdx="6" presStyleCnt="7"/>
      <dgm:spPr>
        <a:blipFill rotWithShape="1">
          <a:blip xmlns:r="http://schemas.openxmlformats.org/officeDocument/2006/relationships" r:embed="rId7"/>
          <a:stretch>
            <a:fillRect/>
          </a:stretch>
        </a:blipFill>
      </dgm:spPr>
    </dgm:pt>
    <dgm:pt modelId="{9033F639-0282-4820-AABD-425F1861A59B}" type="pres">
      <dgm:prSet presAssocID="{951AADC1-47DC-46B5-96EE-F65202BFB29A}" presName="rect2" presStyleLbl="node1" presStyleIdx="6" presStyleCnt="7">
        <dgm:presLayoutVars>
          <dgm:bulletEnabled val="1"/>
        </dgm:presLayoutVars>
      </dgm:prSet>
      <dgm:spPr/>
    </dgm:pt>
  </dgm:ptLst>
  <dgm:cxnLst>
    <dgm:cxn modelId="{D71BB50E-E11C-4B76-86E4-C5B0E33ED7A5}" srcId="{EF008DC2-66FA-49CF-AA09-71D164819F6F}" destId="{7FFB466D-0932-47EB-9EBB-5C67297FD6F9}" srcOrd="0" destOrd="0" parTransId="{30CE4E4F-4CC7-4160-8694-EEFC58E78F0C}" sibTransId="{5492717D-6684-4158-9E64-5861DB7C71BF}"/>
    <dgm:cxn modelId="{8E07C01E-0843-4FB1-86EE-011CA1C60FDA}" type="presOf" srcId="{B125BCC4-1024-4909-9201-C7BA9B104AC6}" destId="{2347C370-0649-4145-9408-D29A553B7377}" srcOrd="0" destOrd="0" presId="urn:microsoft.com/office/officeart/2008/layout/BendingPictureBlocks"/>
    <dgm:cxn modelId="{07DEBE38-86CC-4374-8531-44BD735555EB}" srcId="{EF008DC2-66FA-49CF-AA09-71D164819F6F}" destId="{B86C100F-9A1C-481E-8207-D5BC7B11BF57}" srcOrd="1" destOrd="0" parTransId="{894841E3-4C8C-41B2-B0BB-CEB49B01B7F9}" sibTransId="{185AB9B0-54A2-4E99-9105-CA14557A9276}"/>
    <dgm:cxn modelId="{D94DF56B-785D-4597-BF58-ACB8D430E9D3}" srcId="{EF008DC2-66FA-49CF-AA09-71D164819F6F}" destId="{B125BCC4-1024-4909-9201-C7BA9B104AC6}" srcOrd="3" destOrd="0" parTransId="{558A8848-8185-4D73-8703-868F0D03855F}" sibTransId="{60851B66-180F-4D49-9D79-E3CEE05EABAB}"/>
    <dgm:cxn modelId="{66948871-C8DC-464F-AD1D-9E0626EAB008}" type="presOf" srcId="{02B09495-D6ED-4867-BEEF-4FDBEF8D8274}" destId="{F1436FD4-9FC4-4C7A-9C39-8691784F6FDD}" srcOrd="0" destOrd="0" presId="urn:microsoft.com/office/officeart/2008/layout/BendingPictureBlocks"/>
    <dgm:cxn modelId="{1470DE78-CD22-4579-890D-53020C3B6177}" srcId="{EF008DC2-66FA-49CF-AA09-71D164819F6F}" destId="{AE6F1C40-9ED2-44B4-8B72-6AA61A5B5622}" srcOrd="4" destOrd="0" parTransId="{26918117-D0D3-4E17-A9AD-566BC6D54FFC}" sibTransId="{3BC875CA-AB3E-43B0-AF83-E07FE177571F}"/>
    <dgm:cxn modelId="{FF7A0381-979E-4FA1-8A26-76778B8DC5D1}" srcId="{EF008DC2-66FA-49CF-AA09-71D164819F6F}" destId="{02B09495-D6ED-4867-BEEF-4FDBEF8D8274}" srcOrd="5" destOrd="0" parTransId="{762B7579-FF36-4F9A-96F0-67CE71EDB2A8}" sibTransId="{64EB5C30-01F1-4C70-BD95-28D4EEA60695}"/>
    <dgm:cxn modelId="{8ABDE885-D974-4AF7-8A9A-5DC987381C30}" srcId="{EF008DC2-66FA-49CF-AA09-71D164819F6F}" destId="{951AADC1-47DC-46B5-96EE-F65202BFB29A}" srcOrd="6" destOrd="0" parTransId="{B4F5C971-ABCA-4A1A-92E5-405A9DCFF41A}" sibTransId="{09C9B83C-A5D6-4DCE-92DD-1E6DE0818CB4}"/>
    <dgm:cxn modelId="{11F39188-6EEC-446E-84E2-04D5C3C22CD3}" type="presOf" srcId="{B86C100F-9A1C-481E-8207-D5BC7B11BF57}" destId="{9778B364-1BE6-4B0B-A1D3-3E8DA8632936}" srcOrd="0" destOrd="0" presId="urn:microsoft.com/office/officeart/2008/layout/BendingPictureBlocks"/>
    <dgm:cxn modelId="{AF410CA8-5113-47BF-874D-95437164D27F}" type="presOf" srcId="{7FFB466D-0932-47EB-9EBB-5C67297FD6F9}" destId="{DCD54B3B-D872-4FC5-8E8E-90EFA97E5945}" srcOrd="0" destOrd="0" presId="urn:microsoft.com/office/officeart/2008/layout/BendingPictureBlocks"/>
    <dgm:cxn modelId="{ABC956AE-02AA-40F5-83F4-04DDF3E44585}" type="presOf" srcId="{EF008DC2-66FA-49CF-AA09-71D164819F6F}" destId="{D72F6BEA-99F8-43EE-8FB1-C2D467188A49}" srcOrd="0" destOrd="0" presId="urn:microsoft.com/office/officeart/2008/layout/BendingPictureBlocks"/>
    <dgm:cxn modelId="{2E33EAC7-78BA-4323-A3FD-7C9DFE918C65}" type="presOf" srcId="{62004385-516F-4330-B9C3-1735B8E85B93}" destId="{64FC455C-F48C-4B8C-8D19-654F2DAD05BA}" srcOrd="0" destOrd="0" presId="urn:microsoft.com/office/officeart/2008/layout/BendingPictureBlocks"/>
    <dgm:cxn modelId="{7B8FC3E4-3628-4A91-9C3B-B44E47EB456F}" type="presOf" srcId="{951AADC1-47DC-46B5-96EE-F65202BFB29A}" destId="{9033F639-0282-4820-AABD-425F1861A59B}" srcOrd="0" destOrd="0" presId="urn:microsoft.com/office/officeart/2008/layout/BendingPictureBlocks"/>
    <dgm:cxn modelId="{DE3138EC-8857-48E7-A9A4-47E49EC99BAD}" type="presOf" srcId="{AE6F1C40-9ED2-44B4-8B72-6AA61A5B5622}" destId="{1F6C04C0-A95F-482F-AF43-924C263E0838}" srcOrd="0" destOrd="0" presId="urn:microsoft.com/office/officeart/2008/layout/BendingPictureBlocks"/>
    <dgm:cxn modelId="{1E4D3FF5-A402-4FD3-8588-E02BB4B7FA8B}" srcId="{EF008DC2-66FA-49CF-AA09-71D164819F6F}" destId="{62004385-516F-4330-B9C3-1735B8E85B93}" srcOrd="2" destOrd="0" parTransId="{2BD08875-6BA4-47A5-8AF8-BE9722341597}" sibTransId="{AAA27DA2-F5FE-43C4-998A-28276E211E09}"/>
    <dgm:cxn modelId="{DCF1B3BE-3837-444D-9726-7B7A4BC78A96}" type="presParOf" srcId="{D72F6BEA-99F8-43EE-8FB1-C2D467188A49}" destId="{B50060AC-3379-4590-A636-48764FD71557}" srcOrd="0" destOrd="0" presId="urn:microsoft.com/office/officeart/2008/layout/BendingPictureBlocks"/>
    <dgm:cxn modelId="{8FA3A6AB-E66B-40A0-A226-61636E26E3BF}" type="presParOf" srcId="{B50060AC-3379-4590-A636-48764FD71557}" destId="{854459C7-5EC2-4ADB-B203-40EC0C64A368}" srcOrd="0" destOrd="0" presId="urn:microsoft.com/office/officeart/2008/layout/BendingPictureBlocks"/>
    <dgm:cxn modelId="{B553EE72-9652-47A4-B724-8C701A9A0699}" type="presParOf" srcId="{B50060AC-3379-4590-A636-48764FD71557}" destId="{DCD54B3B-D872-4FC5-8E8E-90EFA97E5945}" srcOrd="1" destOrd="0" presId="urn:microsoft.com/office/officeart/2008/layout/BendingPictureBlocks"/>
    <dgm:cxn modelId="{3A4BBBD5-6EE9-4D5A-BCE4-AAEAE90020AD}" type="presParOf" srcId="{D72F6BEA-99F8-43EE-8FB1-C2D467188A49}" destId="{E2770B49-EB07-40A1-AD44-62FE0FC38E80}" srcOrd="1" destOrd="0" presId="urn:microsoft.com/office/officeart/2008/layout/BendingPictureBlocks"/>
    <dgm:cxn modelId="{D7186E54-8991-452D-BC15-2EE22EAE1749}" type="presParOf" srcId="{D72F6BEA-99F8-43EE-8FB1-C2D467188A49}" destId="{8B529542-47F7-4EA9-A197-837E9C2EA088}" srcOrd="2" destOrd="0" presId="urn:microsoft.com/office/officeart/2008/layout/BendingPictureBlocks"/>
    <dgm:cxn modelId="{E6CBA8EC-D5E8-45B0-B0B8-2A859C2A073F}" type="presParOf" srcId="{8B529542-47F7-4EA9-A197-837E9C2EA088}" destId="{1670C910-1462-402A-B9A9-E4DBD1BC4F09}" srcOrd="0" destOrd="0" presId="urn:microsoft.com/office/officeart/2008/layout/BendingPictureBlocks"/>
    <dgm:cxn modelId="{4290C5A1-B4B6-4D43-BBC8-C273F5758AE8}" type="presParOf" srcId="{8B529542-47F7-4EA9-A197-837E9C2EA088}" destId="{9778B364-1BE6-4B0B-A1D3-3E8DA8632936}" srcOrd="1" destOrd="0" presId="urn:microsoft.com/office/officeart/2008/layout/BendingPictureBlocks"/>
    <dgm:cxn modelId="{74B6A9A8-5A2C-4676-B5D7-01827A1C56EB}" type="presParOf" srcId="{D72F6BEA-99F8-43EE-8FB1-C2D467188A49}" destId="{803BE8C8-09D3-4AA7-B8BC-FD847E766A2F}" srcOrd="3" destOrd="0" presId="urn:microsoft.com/office/officeart/2008/layout/BendingPictureBlocks"/>
    <dgm:cxn modelId="{388D5E6B-B8D1-4AE0-BDDD-132B4983DF12}" type="presParOf" srcId="{D72F6BEA-99F8-43EE-8FB1-C2D467188A49}" destId="{F4490482-AC9D-42A5-9B18-C1574A9D6D0C}" srcOrd="4" destOrd="0" presId="urn:microsoft.com/office/officeart/2008/layout/BendingPictureBlocks"/>
    <dgm:cxn modelId="{9B59F397-6E9D-4154-9DBB-C3D3BD0D061C}" type="presParOf" srcId="{F4490482-AC9D-42A5-9B18-C1574A9D6D0C}" destId="{32DBCF44-EAFB-4D42-90BE-EA958F4593F0}" srcOrd="0" destOrd="0" presId="urn:microsoft.com/office/officeart/2008/layout/BendingPictureBlocks"/>
    <dgm:cxn modelId="{782B2ECD-4505-4DA6-8952-D961D385D7E7}" type="presParOf" srcId="{F4490482-AC9D-42A5-9B18-C1574A9D6D0C}" destId="{64FC455C-F48C-4B8C-8D19-654F2DAD05BA}" srcOrd="1" destOrd="0" presId="urn:microsoft.com/office/officeart/2008/layout/BendingPictureBlocks"/>
    <dgm:cxn modelId="{D8A2B8D6-3DE1-41E9-971B-0769449C0708}" type="presParOf" srcId="{D72F6BEA-99F8-43EE-8FB1-C2D467188A49}" destId="{02FD6249-D54E-4FBE-8CBA-430BC06BFFF1}" srcOrd="5" destOrd="0" presId="urn:microsoft.com/office/officeart/2008/layout/BendingPictureBlocks"/>
    <dgm:cxn modelId="{9BDD247E-433E-4550-9787-4872DBA231E3}" type="presParOf" srcId="{D72F6BEA-99F8-43EE-8FB1-C2D467188A49}" destId="{DD7B8057-69B3-44D5-937E-B3399B0089D1}" srcOrd="6" destOrd="0" presId="urn:microsoft.com/office/officeart/2008/layout/BendingPictureBlocks"/>
    <dgm:cxn modelId="{ADDAB9C4-2FBA-41C2-934B-AEF99DD74219}" type="presParOf" srcId="{DD7B8057-69B3-44D5-937E-B3399B0089D1}" destId="{C21B8CAA-83E9-4B68-BBD1-5D679A6D7573}" srcOrd="0" destOrd="0" presId="urn:microsoft.com/office/officeart/2008/layout/BendingPictureBlocks"/>
    <dgm:cxn modelId="{FC1B1256-B478-47CA-B031-5B8DFD788A94}" type="presParOf" srcId="{DD7B8057-69B3-44D5-937E-B3399B0089D1}" destId="{2347C370-0649-4145-9408-D29A553B7377}" srcOrd="1" destOrd="0" presId="urn:microsoft.com/office/officeart/2008/layout/BendingPictureBlocks"/>
    <dgm:cxn modelId="{403671AC-1A6B-47A9-8C90-37F39DFD9C44}" type="presParOf" srcId="{D72F6BEA-99F8-43EE-8FB1-C2D467188A49}" destId="{16951E50-5E95-4906-8578-B06C489FF944}" srcOrd="7" destOrd="0" presId="urn:microsoft.com/office/officeart/2008/layout/BendingPictureBlocks"/>
    <dgm:cxn modelId="{56AD44DB-B787-47E5-B11F-56E6DD43FE8E}" type="presParOf" srcId="{D72F6BEA-99F8-43EE-8FB1-C2D467188A49}" destId="{4B48776A-A72B-4386-B1C7-C825C881ECFE}" srcOrd="8" destOrd="0" presId="urn:microsoft.com/office/officeart/2008/layout/BendingPictureBlocks"/>
    <dgm:cxn modelId="{8353DD04-879F-48B3-8E16-439324389EE1}" type="presParOf" srcId="{4B48776A-A72B-4386-B1C7-C825C881ECFE}" destId="{040478E8-3F64-450E-9DAB-DB53C05E8F76}" srcOrd="0" destOrd="0" presId="urn:microsoft.com/office/officeart/2008/layout/BendingPictureBlocks"/>
    <dgm:cxn modelId="{43D21C25-DC69-40A5-AFA6-84204F4B712D}" type="presParOf" srcId="{4B48776A-A72B-4386-B1C7-C825C881ECFE}" destId="{1F6C04C0-A95F-482F-AF43-924C263E0838}" srcOrd="1" destOrd="0" presId="urn:microsoft.com/office/officeart/2008/layout/BendingPictureBlocks"/>
    <dgm:cxn modelId="{08224562-9611-47D3-90AD-CAE56E5C70AA}" type="presParOf" srcId="{D72F6BEA-99F8-43EE-8FB1-C2D467188A49}" destId="{E9091120-FD08-4C7B-A1DB-0B2759F45DCB}" srcOrd="9" destOrd="0" presId="urn:microsoft.com/office/officeart/2008/layout/BendingPictureBlocks"/>
    <dgm:cxn modelId="{7A2CBE51-588C-4ED4-904F-ECD6A06D530F}" type="presParOf" srcId="{D72F6BEA-99F8-43EE-8FB1-C2D467188A49}" destId="{D8F59F8F-1479-48FE-9FC9-FDE5D96C4374}" srcOrd="10" destOrd="0" presId="urn:microsoft.com/office/officeart/2008/layout/BendingPictureBlocks"/>
    <dgm:cxn modelId="{7AACE9DF-C0FB-4BDB-9322-7C4F986FD945}" type="presParOf" srcId="{D8F59F8F-1479-48FE-9FC9-FDE5D96C4374}" destId="{C1D91B36-AB1C-4538-8228-F6D8B64E0C1B}" srcOrd="0" destOrd="0" presId="urn:microsoft.com/office/officeart/2008/layout/BendingPictureBlocks"/>
    <dgm:cxn modelId="{041EEE23-72B1-47C0-B1F6-B1EB702EB688}" type="presParOf" srcId="{D8F59F8F-1479-48FE-9FC9-FDE5D96C4374}" destId="{F1436FD4-9FC4-4C7A-9C39-8691784F6FDD}" srcOrd="1" destOrd="0" presId="urn:microsoft.com/office/officeart/2008/layout/BendingPictureBlocks"/>
    <dgm:cxn modelId="{8797C920-1CD7-4174-9B87-CD0674482A5E}" type="presParOf" srcId="{D72F6BEA-99F8-43EE-8FB1-C2D467188A49}" destId="{459F3F2F-F098-4FAD-986E-DDD3D9DC414E}" srcOrd="11" destOrd="0" presId="urn:microsoft.com/office/officeart/2008/layout/BendingPictureBlocks"/>
    <dgm:cxn modelId="{09EC7C4D-7384-491C-8117-6C9C687ED37A}" type="presParOf" srcId="{D72F6BEA-99F8-43EE-8FB1-C2D467188A49}" destId="{33405582-4924-4C5D-8EE6-288FD9AC8A4B}" srcOrd="12" destOrd="0" presId="urn:microsoft.com/office/officeart/2008/layout/BendingPictureBlocks"/>
    <dgm:cxn modelId="{D0123721-FBE4-49E8-9F33-30C4498DD5E4}" type="presParOf" srcId="{33405582-4924-4C5D-8EE6-288FD9AC8A4B}" destId="{3B182F8F-FBDE-47A3-833C-615DCD512553}" srcOrd="0" destOrd="0" presId="urn:microsoft.com/office/officeart/2008/layout/BendingPictureBlocks"/>
    <dgm:cxn modelId="{4349F0C6-11E6-4BF3-B105-F5139E399BC0}" type="presParOf" srcId="{33405582-4924-4C5D-8EE6-288FD9AC8A4B}" destId="{9033F639-0282-4820-AABD-425F1861A59B}" srcOrd="1" destOrd="0" presId="urn:microsoft.com/office/officeart/2008/layout/BendingPictureBlock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91BB1FD-3164-4655-B3B2-009D57B30816}" type="doc">
      <dgm:prSet loTypeId="urn:microsoft.com/office/officeart/2005/8/layout/hierarchy3" loCatId="list" qsTypeId="urn:microsoft.com/office/officeart/2005/8/quickstyle/simple1" qsCatId="simple" csTypeId="urn:microsoft.com/office/officeart/2005/8/colors/accent2_2" csCatId="accent2" phldr="1"/>
      <dgm:spPr/>
      <dgm:t>
        <a:bodyPr/>
        <a:lstStyle/>
        <a:p>
          <a:endParaRPr lang="en-US"/>
        </a:p>
      </dgm:t>
    </dgm:pt>
    <dgm:pt modelId="{872E9948-02A1-4B52-ADD9-20B9062A9FE1}">
      <dgm:prSet phldrT="[Text]"/>
      <dgm:spPr/>
      <dgm:t>
        <a:bodyPr/>
        <a:lstStyle/>
        <a:p>
          <a:r>
            <a:rPr lang="en-US" dirty="0"/>
            <a:t>Acute Complications</a:t>
          </a:r>
        </a:p>
      </dgm:t>
    </dgm:pt>
    <dgm:pt modelId="{EC0CF62E-8468-4FE3-A675-1A97C4C25F81}" type="parTrans" cxnId="{7279693F-7C5B-4590-A5A6-0D01A85A9702}">
      <dgm:prSet/>
      <dgm:spPr/>
      <dgm:t>
        <a:bodyPr/>
        <a:lstStyle/>
        <a:p>
          <a:endParaRPr lang="en-US"/>
        </a:p>
      </dgm:t>
    </dgm:pt>
    <dgm:pt modelId="{1761775A-AB03-4522-A484-2E0E60390268}" type="sibTrans" cxnId="{7279693F-7C5B-4590-A5A6-0D01A85A9702}">
      <dgm:prSet/>
      <dgm:spPr/>
      <dgm:t>
        <a:bodyPr/>
        <a:lstStyle/>
        <a:p>
          <a:endParaRPr lang="en-US"/>
        </a:p>
      </dgm:t>
    </dgm:pt>
    <dgm:pt modelId="{8DEDF469-531B-444C-85FC-98A6E7E13B7C}">
      <dgm:prSet phldrT="[Text]"/>
      <dgm:spPr/>
      <dgm:t>
        <a:bodyPr/>
        <a:lstStyle/>
        <a:p>
          <a:r>
            <a:rPr lang="en-US" dirty="0"/>
            <a:t>Prevention</a:t>
          </a:r>
        </a:p>
        <a:p>
          <a:r>
            <a:rPr lang="en-US" dirty="0"/>
            <a:t>&amp;</a:t>
          </a:r>
        </a:p>
        <a:p>
          <a:r>
            <a:rPr lang="en-US" dirty="0"/>
            <a:t>Treatment</a:t>
          </a:r>
        </a:p>
      </dgm:t>
    </dgm:pt>
    <dgm:pt modelId="{9D5DE35A-760D-42C8-8B35-A8B45A09628B}" type="parTrans" cxnId="{38F87EB4-6CA9-40E8-9910-230FF218BD32}">
      <dgm:prSet/>
      <dgm:spPr/>
      <dgm:t>
        <a:bodyPr/>
        <a:lstStyle/>
        <a:p>
          <a:endParaRPr lang="en-US"/>
        </a:p>
      </dgm:t>
    </dgm:pt>
    <dgm:pt modelId="{F8B7E884-D1D5-4D85-9806-AF86E72350E9}" type="sibTrans" cxnId="{38F87EB4-6CA9-40E8-9910-230FF218BD32}">
      <dgm:prSet/>
      <dgm:spPr/>
      <dgm:t>
        <a:bodyPr/>
        <a:lstStyle/>
        <a:p>
          <a:endParaRPr lang="en-US"/>
        </a:p>
      </dgm:t>
    </dgm:pt>
    <dgm:pt modelId="{40551861-12B9-4977-A8DD-A90B570718E2}">
      <dgm:prSet phldrT="[Text]"/>
      <dgm:spPr/>
      <dgm:t>
        <a:bodyPr/>
        <a:lstStyle/>
        <a:p>
          <a:r>
            <a:rPr lang="en-US" dirty="0"/>
            <a:t>Chronic Complications</a:t>
          </a:r>
        </a:p>
      </dgm:t>
    </dgm:pt>
    <dgm:pt modelId="{F552B8DA-A70F-45A9-9234-DD9B1C519F74}" type="parTrans" cxnId="{394CE636-018C-48C8-B24B-373CFA7973E0}">
      <dgm:prSet/>
      <dgm:spPr/>
      <dgm:t>
        <a:bodyPr/>
        <a:lstStyle/>
        <a:p>
          <a:endParaRPr lang="en-US"/>
        </a:p>
      </dgm:t>
    </dgm:pt>
    <dgm:pt modelId="{22A99F48-BB3E-4D34-A602-717A746E7622}" type="sibTrans" cxnId="{394CE636-018C-48C8-B24B-373CFA7973E0}">
      <dgm:prSet/>
      <dgm:spPr/>
      <dgm:t>
        <a:bodyPr/>
        <a:lstStyle/>
        <a:p>
          <a:endParaRPr lang="en-US"/>
        </a:p>
      </dgm:t>
    </dgm:pt>
    <dgm:pt modelId="{7831A4D5-7863-4111-BE84-1D117B834C71}">
      <dgm:prSet phldrT="[Text]"/>
      <dgm:spPr/>
      <dgm:t>
        <a:bodyPr/>
        <a:lstStyle/>
        <a:p>
          <a:r>
            <a:rPr lang="en-US" dirty="0"/>
            <a:t>Prevention</a:t>
          </a:r>
        </a:p>
        <a:p>
          <a:r>
            <a:rPr lang="en-US" dirty="0"/>
            <a:t>&amp;</a:t>
          </a:r>
        </a:p>
        <a:p>
          <a:r>
            <a:rPr lang="en-US" dirty="0"/>
            <a:t>Treatment</a:t>
          </a:r>
        </a:p>
      </dgm:t>
    </dgm:pt>
    <dgm:pt modelId="{1428FAD0-13DA-4EF0-85A3-B131B27BCFC7}" type="parTrans" cxnId="{67B0DC39-E40C-45A0-A450-F84419C05ECA}">
      <dgm:prSet/>
      <dgm:spPr/>
      <dgm:t>
        <a:bodyPr/>
        <a:lstStyle/>
        <a:p>
          <a:endParaRPr lang="en-US"/>
        </a:p>
      </dgm:t>
    </dgm:pt>
    <dgm:pt modelId="{2F1B24D8-7AA4-444E-82D2-43291E0D18C1}" type="sibTrans" cxnId="{67B0DC39-E40C-45A0-A450-F84419C05ECA}">
      <dgm:prSet/>
      <dgm:spPr/>
      <dgm:t>
        <a:bodyPr/>
        <a:lstStyle/>
        <a:p>
          <a:endParaRPr lang="en-US"/>
        </a:p>
      </dgm:t>
    </dgm:pt>
    <dgm:pt modelId="{773B1A1B-C0C3-4818-95DA-9CBC287218C0}">
      <dgm:prSet/>
      <dgm:spPr/>
      <dgm:t>
        <a:bodyPr/>
        <a:lstStyle/>
        <a:p>
          <a:r>
            <a:rPr lang="en-US" dirty="0"/>
            <a:t>Cure</a:t>
          </a:r>
        </a:p>
      </dgm:t>
    </dgm:pt>
    <dgm:pt modelId="{91E2C990-D451-465B-A318-4D58A365809E}" type="parTrans" cxnId="{59AF2855-93C3-4DBF-A1AB-7D3F0139E194}">
      <dgm:prSet/>
      <dgm:spPr/>
      <dgm:t>
        <a:bodyPr/>
        <a:lstStyle/>
        <a:p>
          <a:endParaRPr lang="en-US"/>
        </a:p>
      </dgm:t>
    </dgm:pt>
    <dgm:pt modelId="{68E9090D-1DCF-4C56-B968-FFD85834752B}" type="sibTrans" cxnId="{59AF2855-93C3-4DBF-A1AB-7D3F0139E194}">
      <dgm:prSet/>
      <dgm:spPr/>
      <dgm:t>
        <a:bodyPr/>
        <a:lstStyle/>
        <a:p>
          <a:endParaRPr lang="en-US"/>
        </a:p>
      </dgm:t>
    </dgm:pt>
    <dgm:pt modelId="{1A74A9B9-6AAB-436A-BB81-7962D169A424}">
      <dgm:prSet/>
      <dgm:spPr/>
      <dgm:t>
        <a:bodyPr/>
        <a:lstStyle/>
        <a:p>
          <a:r>
            <a:rPr lang="en-US" dirty="0"/>
            <a:t>Hematopoietic stem cell transplantation</a:t>
          </a:r>
        </a:p>
      </dgm:t>
    </dgm:pt>
    <dgm:pt modelId="{B2BB8D21-976D-4817-A48C-F2A9F9FFBF32}" type="parTrans" cxnId="{ADA5ED0C-CF72-4D7E-B596-30B991387FDE}">
      <dgm:prSet/>
      <dgm:spPr/>
      <dgm:t>
        <a:bodyPr/>
        <a:lstStyle/>
        <a:p>
          <a:endParaRPr lang="en-US"/>
        </a:p>
      </dgm:t>
    </dgm:pt>
    <dgm:pt modelId="{B10B01EE-1853-4C03-B7B9-F0FBB4AC1BC0}" type="sibTrans" cxnId="{ADA5ED0C-CF72-4D7E-B596-30B991387FDE}">
      <dgm:prSet/>
      <dgm:spPr/>
      <dgm:t>
        <a:bodyPr/>
        <a:lstStyle/>
        <a:p>
          <a:endParaRPr lang="en-US"/>
        </a:p>
      </dgm:t>
    </dgm:pt>
    <dgm:pt modelId="{9E539695-4319-4F38-86FE-1317699C6A1B}">
      <dgm:prSet/>
      <dgm:spPr/>
      <dgm:t>
        <a:bodyPr/>
        <a:lstStyle/>
        <a:p>
          <a:r>
            <a:rPr lang="en-US" dirty="0"/>
            <a:t>Investigational Options</a:t>
          </a:r>
        </a:p>
      </dgm:t>
    </dgm:pt>
    <dgm:pt modelId="{DB458824-92FF-4CE9-BE0C-73132FA455D6}" type="parTrans" cxnId="{4DE62568-5BCC-4633-BD27-486FE6387C24}">
      <dgm:prSet/>
      <dgm:spPr/>
      <dgm:t>
        <a:bodyPr/>
        <a:lstStyle/>
        <a:p>
          <a:endParaRPr lang="en-US"/>
        </a:p>
      </dgm:t>
    </dgm:pt>
    <dgm:pt modelId="{65ACE718-6D9C-43D5-B7FF-7C133FC75E49}" type="sibTrans" cxnId="{4DE62568-5BCC-4633-BD27-486FE6387C24}">
      <dgm:prSet/>
      <dgm:spPr/>
      <dgm:t>
        <a:bodyPr/>
        <a:lstStyle/>
        <a:p>
          <a:endParaRPr lang="en-US"/>
        </a:p>
      </dgm:t>
    </dgm:pt>
    <dgm:pt modelId="{77FC84F9-E804-41E4-8B58-84EABC210874}">
      <dgm:prSet/>
      <dgm:spPr/>
      <dgm:t>
        <a:bodyPr/>
        <a:lstStyle/>
        <a:p>
          <a:r>
            <a:rPr lang="en-US" dirty="0"/>
            <a:t>Health Maintenance</a:t>
          </a:r>
        </a:p>
      </dgm:t>
    </dgm:pt>
    <dgm:pt modelId="{8B6C62DA-5278-4343-8E32-00DC48E85497}" type="parTrans" cxnId="{8998B0F5-1E28-47E3-8F06-786674B2865E}">
      <dgm:prSet/>
      <dgm:spPr/>
      <dgm:t>
        <a:bodyPr/>
        <a:lstStyle/>
        <a:p>
          <a:endParaRPr lang="en-US"/>
        </a:p>
      </dgm:t>
    </dgm:pt>
    <dgm:pt modelId="{1778A737-BD95-4FB3-BFDC-781CA0ED1E5C}" type="sibTrans" cxnId="{8998B0F5-1E28-47E3-8F06-786674B2865E}">
      <dgm:prSet/>
      <dgm:spPr/>
      <dgm:t>
        <a:bodyPr/>
        <a:lstStyle/>
        <a:p>
          <a:endParaRPr lang="en-US"/>
        </a:p>
      </dgm:t>
    </dgm:pt>
    <dgm:pt modelId="{E250BF75-F314-47F8-B613-32EC62D91BCC}">
      <dgm:prSet/>
      <dgm:spPr/>
      <dgm:t>
        <a:bodyPr/>
        <a:lstStyle/>
        <a:p>
          <a:pPr algn="l"/>
          <a:r>
            <a:rPr lang="en-US" dirty="0"/>
            <a:t>-Routine health visits</a:t>
          </a:r>
        </a:p>
        <a:p>
          <a:pPr algn="l"/>
          <a:r>
            <a:rPr lang="en-US" dirty="0"/>
            <a:t>-Screening</a:t>
          </a:r>
        </a:p>
        <a:p>
          <a:pPr algn="l"/>
          <a:r>
            <a:rPr lang="en-US" dirty="0"/>
            <a:t>-Education</a:t>
          </a:r>
        </a:p>
        <a:p>
          <a:pPr algn="l"/>
          <a:r>
            <a:rPr lang="en-US" dirty="0"/>
            <a:t>-Ongoing support</a:t>
          </a:r>
        </a:p>
        <a:p>
          <a:pPr algn="l"/>
          <a:r>
            <a:rPr lang="en-US" dirty="0"/>
            <a:t>-Lab monitoring</a:t>
          </a:r>
        </a:p>
      </dgm:t>
    </dgm:pt>
    <dgm:pt modelId="{BDB81C43-7871-44AA-8A0E-557B18C48F3F}" type="parTrans" cxnId="{E8A247F8-4916-4B60-A7B3-92317E1EC66D}">
      <dgm:prSet/>
      <dgm:spPr/>
      <dgm:t>
        <a:bodyPr/>
        <a:lstStyle/>
        <a:p>
          <a:endParaRPr lang="en-US"/>
        </a:p>
      </dgm:t>
    </dgm:pt>
    <dgm:pt modelId="{720F6CB3-D34D-4953-9636-F95398562C05}" type="sibTrans" cxnId="{E8A247F8-4916-4B60-A7B3-92317E1EC66D}">
      <dgm:prSet/>
      <dgm:spPr/>
      <dgm:t>
        <a:bodyPr/>
        <a:lstStyle/>
        <a:p>
          <a:endParaRPr lang="en-US"/>
        </a:p>
      </dgm:t>
    </dgm:pt>
    <dgm:pt modelId="{479595DE-46C7-47A6-9870-DDD5963D2E55}" type="pres">
      <dgm:prSet presAssocID="{291BB1FD-3164-4655-B3B2-009D57B30816}" presName="diagram" presStyleCnt="0">
        <dgm:presLayoutVars>
          <dgm:chPref val="1"/>
          <dgm:dir/>
          <dgm:animOne val="branch"/>
          <dgm:animLvl val="lvl"/>
          <dgm:resizeHandles/>
        </dgm:presLayoutVars>
      </dgm:prSet>
      <dgm:spPr/>
    </dgm:pt>
    <dgm:pt modelId="{6007F8BE-2D9F-479E-83F5-1C7CDF6FDF11}" type="pres">
      <dgm:prSet presAssocID="{77FC84F9-E804-41E4-8B58-84EABC210874}" presName="root" presStyleCnt="0"/>
      <dgm:spPr/>
    </dgm:pt>
    <dgm:pt modelId="{AFAE3215-8359-4CCE-8B79-1470454237E1}" type="pres">
      <dgm:prSet presAssocID="{77FC84F9-E804-41E4-8B58-84EABC210874}" presName="rootComposite" presStyleCnt="0"/>
      <dgm:spPr/>
    </dgm:pt>
    <dgm:pt modelId="{04B20126-B554-4B8F-8050-7376DFFD96A2}" type="pres">
      <dgm:prSet presAssocID="{77FC84F9-E804-41E4-8B58-84EABC210874}" presName="rootText" presStyleLbl="node1" presStyleIdx="0" presStyleCnt="4"/>
      <dgm:spPr/>
    </dgm:pt>
    <dgm:pt modelId="{DA041223-6247-40D1-9AF0-A1F2311D5C40}" type="pres">
      <dgm:prSet presAssocID="{77FC84F9-E804-41E4-8B58-84EABC210874}" presName="rootConnector" presStyleLbl="node1" presStyleIdx="0" presStyleCnt="4"/>
      <dgm:spPr/>
    </dgm:pt>
    <dgm:pt modelId="{478B2FC9-848E-41C9-81DF-179F7EDC8595}" type="pres">
      <dgm:prSet presAssocID="{77FC84F9-E804-41E4-8B58-84EABC210874}" presName="childShape" presStyleCnt="0"/>
      <dgm:spPr/>
    </dgm:pt>
    <dgm:pt modelId="{2D058EC7-A617-478D-AE64-24E073CCDE9C}" type="pres">
      <dgm:prSet presAssocID="{BDB81C43-7871-44AA-8A0E-557B18C48F3F}" presName="Name13" presStyleLbl="parChTrans1D2" presStyleIdx="0" presStyleCnt="5"/>
      <dgm:spPr/>
    </dgm:pt>
    <dgm:pt modelId="{69261A78-3613-4F92-960C-DE4FFD2BA68E}" type="pres">
      <dgm:prSet presAssocID="{E250BF75-F314-47F8-B613-32EC62D91BCC}" presName="childText" presStyleLbl="bgAcc1" presStyleIdx="0" presStyleCnt="5" custScaleX="119112" custScaleY="163613">
        <dgm:presLayoutVars>
          <dgm:bulletEnabled val="1"/>
        </dgm:presLayoutVars>
      </dgm:prSet>
      <dgm:spPr/>
    </dgm:pt>
    <dgm:pt modelId="{E1E9E220-2C0C-49BF-A467-E6EBBB263FFB}" type="pres">
      <dgm:prSet presAssocID="{872E9948-02A1-4B52-ADD9-20B9062A9FE1}" presName="root" presStyleCnt="0"/>
      <dgm:spPr/>
    </dgm:pt>
    <dgm:pt modelId="{11D12077-281C-4F4B-B2B1-24023F1CC523}" type="pres">
      <dgm:prSet presAssocID="{872E9948-02A1-4B52-ADD9-20B9062A9FE1}" presName="rootComposite" presStyleCnt="0"/>
      <dgm:spPr/>
    </dgm:pt>
    <dgm:pt modelId="{751C3339-B7D5-487B-B762-7022B7585246}" type="pres">
      <dgm:prSet presAssocID="{872E9948-02A1-4B52-ADD9-20B9062A9FE1}" presName="rootText" presStyleLbl="node1" presStyleIdx="1" presStyleCnt="4"/>
      <dgm:spPr/>
    </dgm:pt>
    <dgm:pt modelId="{12731C36-72F8-4FAB-87FC-7B56D5AB6202}" type="pres">
      <dgm:prSet presAssocID="{872E9948-02A1-4B52-ADD9-20B9062A9FE1}" presName="rootConnector" presStyleLbl="node1" presStyleIdx="1" presStyleCnt="4"/>
      <dgm:spPr/>
    </dgm:pt>
    <dgm:pt modelId="{7F6881A8-1186-4B38-91ED-9BB45396AE04}" type="pres">
      <dgm:prSet presAssocID="{872E9948-02A1-4B52-ADD9-20B9062A9FE1}" presName="childShape" presStyleCnt="0"/>
      <dgm:spPr/>
    </dgm:pt>
    <dgm:pt modelId="{5C64A40C-C3F1-4E90-9876-76B076B3DA5E}" type="pres">
      <dgm:prSet presAssocID="{9D5DE35A-760D-42C8-8B35-A8B45A09628B}" presName="Name13" presStyleLbl="parChTrans1D2" presStyleIdx="1" presStyleCnt="5"/>
      <dgm:spPr/>
    </dgm:pt>
    <dgm:pt modelId="{4BFB8BF4-D750-49AB-BA4E-8179108DEC66}" type="pres">
      <dgm:prSet presAssocID="{8DEDF469-531B-444C-85FC-98A6E7E13B7C}" presName="childText" presStyleLbl="bgAcc1" presStyleIdx="1" presStyleCnt="5" custScaleX="119112" custScaleY="163613">
        <dgm:presLayoutVars>
          <dgm:bulletEnabled val="1"/>
        </dgm:presLayoutVars>
      </dgm:prSet>
      <dgm:spPr/>
    </dgm:pt>
    <dgm:pt modelId="{5E0AD9E2-8678-468F-A17C-AF92693B8645}" type="pres">
      <dgm:prSet presAssocID="{40551861-12B9-4977-A8DD-A90B570718E2}" presName="root" presStyleCnt="0"/>
      <dgm:spPr/>
    </dgm:pt>
    <dgm:pt modelId="{01B2F9E5-E20B-4C4D-B8C6-7FDD76FFE44D}" type="pres">
      <dgm:prSet presAssocID="{40551861-12B9-4977-A8DD-A90B570718E2}" presName="rootComposite" presStyleCnt="0"/>
      <dgm:spPr/>
    </dgm:pt>
    <dgm:pt modelId="{8AB7D00A-1608-47BA-B0BA-2B2008594BD6}" type="pres">
      <dgm:prSet presAssocID="{40551861-12B9-4977-A8DD-A90B570718E2}" presName="rootText" presStyleLbl="node1" presStyleIdx="2" presStyleCnt="4"/>
      <dgm:spPr/>
    </dgm:pt>
    <dgm:pt modelId="{263C28F4-F88B-47FD-A4AC-9D5122893D65}" type="pres">
      <dgm:prSet presAssocID="{40551861-12B9-4977-A8DD-A90B570718E2}" presName="rootConnector" presStyleLbl="node1" presStyleIdx="2" presStyleCnt="4"/>
      <dgm:spPr/>
    </dgm:pt>
    <dgm:pt modelId="{5F1B83CE-2E67-4A7D-933A-2CE456A1E36C}" type="pres">
      <dgm:prSet presAssocID="{40551861-12B9-4977-A8DD-A90B570718E2}" presName="childShape" presStyleCnt="0"/>
      <dgm:spPr/>
    </dgm:pt>
    <dgm:pt modelId="{A9E25201-0E97-4911-AE9F-FB4039384053}" type="pres">
      <dgm:prSet presAssocID="{1428FAD0-13DA-4EF0-85A3-B131B27BCFC7}" presName="Name13" presStyleLbl="parChTrans1D2" presStyleIdx="2" presStyleCnt="5"/>
      <dgm:spPr/>
    </dgm:pt>
    <dgm:pt modelId="{526B987F-EBBE-4C9F-811E-ADFD7E5C3FC0}" type="pres">
      <dgm:prSet presAssocID="{7831A4D5-7863-4111-BE84-1D117B834C71}" presName="childText" presStyleLbl="bgAcc1" presStyleIdx="2" presStyleCnt="5" custScaleX="119112" custScaleY="163613">
        <dgm:presLayoutVars>
          <dgm:bulletEnabled val="1"/>
        </dgm:presLayoutVars>
      </dgm:prSet>
      <dgm:spPr/>
    </dgm:pt>
    <dgm:pt modelId="{F685D83B-3CF9-4EF7-B5D6-4014C7F5EE0F}" type="pres">
      <dgm:prSet presAssocID="{773B1A1B-C0C3-4818-95DA-9CBC287218C0}" presName="root" presStyleCnt="0"/>
      <dgm:spPr/>
    </dgm:pt>
    <dgm:pt modelId="{FAFD0E14-8DE8-4CB4-9A99-BBE5D5457ED9}" type="pres">
      <dgm:prSet presAssocID="{773B1A1B-C0C3-4818-95DA-9CBC287218C0}" presName="rootComposite" presStyleCnt="0"/>
      <dgm:spPr/>
    </dgm:pt>
    <dgm:pt modelId="{04457612-9C00-40DE-8632-BE00C06A350C}" type="pres">
      <dgm:prSet presAssocID="{773B1A1B-C0C3-4818-95DA-9CBC287218C0}" presName="rootText" presStyleLbl="node1" presStyleIdx="3" presStyleCnt="4"/>
      <dgm:spPr/>
    </dgm:pt>
    <dgm:pt modelId="{BCD4B600-5655-4F55-9552-74E59C4A04A5}" type="pres">
      <dgm:prSet presAssocID="{773B1A1B-C0C3-4818-95DA-9CBC287218C0}" presName="rootConnector" presStyleLbl="node1" presStyleIdx="3" presStyleCnt="4"/>
      <dgm:spPr/>
    </dgm:pt>
    <dgm:pt modelId="{85105C05-4807-421D-8C9B-2DB256939F48}" type="pres">
      <dgm:prSet presAssocID="{773B1A1B-C0C3-4818-95DA-9CBC287218C0}" presName="childShape" presStyleCnt="0"/>
      <dgm:spPr/>
    </dgm:pt>
    <dgm:pt modelId="{205EF401-8BA5-4A30-8948-5A0BC02BCB7D}" type="pres">
      <dgm:prSet presAssocID="{B2BB8D21-976D-4817-A48C-F2A9F9FFBF32}" presName="Name13" presStyleLbl="parChTrans1D2" presStyleIdx="3" presStyleCnt="5"/>
      <dgm:spPr/>
    </dgm:pt>
    <dgm:pt modelId="{BDFA3837-82C1-4E40-80B5-62147B92A06F}" type="pres">
      <dgm:prSet presAssocID="{1A74A9B9-6AAB-436A-BB81-7962D169A424}" presName="childText" presStyleLbl="bgAcc1" presStyleIdx="3" presStyleCnt="5" custScaleX="119112" custScaleY="163613">
        <dgm:presLayoutVars>
          <dgm:bulletEnabled val="1"/>
        </dgm:presLayoutVars>
      </dgm:prSet>
      <dgm:spPr/>
    </dgm:pt>
    <dgm:pt modelId="{A681DAFC-66AB-4881-B955-A476C1EBE38A}" type="pres">
      <dgm:prSet presAssocID="{DB458824-92FF-4CE9-BE0C-73132FA455D6}" presName="Name13" presStyleLbl="parChTrans1D2" presStyleIdx="4" presStyleCnt="5"/>
      <dgm:spPr/>
    </dgm:pt>
    <dgm:pt modelId="{1E5A5091-8D67-4267-A209-FF690C6C75B2}" type="pres">
      <dgm:prSet presAssocID="{9E539695-4319-4F38-86FE-1317699C6A1B}" presName="childText" presStyleLbl="bgAcc1" presStyleIdx="4" presStyleCnt="5">
        <dgm:presLayoutVars>
          <dgm:bulletEnabled val="1"/>
        </dgm:presLayoutVars>
      </dgm:prSet>
      <dgm:spPr/>
    </dgm:pt>
  </dgm:ptLst>
  <dgm:cxnLst>
    <dgm:cxn modelId="{ADA5ED0C-CF72-4D7E-B596-30B991387FDE}" srcId="{773B1A1B-C0C3-4818-95DA-9CBC287218C0}" destId="{1A74A9B9-6AAB-436A-BB81-7962D169A424}" srcOrd="0" destOrd="0" parTransId="{B2BB8D21-976D-4817-A48C-F2A9F9FFBF32}" sibTransId="{B10B01EE-1853-4C03-B7B9-F0FBB4AC1BC0}"/>
    <dgm:cxn modelId="{9C8CEA0E-797F-4B0B-9184-CBA0A4439842}" type="presOf" srcId="{9D5DE35A-760D-42C8-8B35-A8B45A09628B}" destId="{5C64A40C-C3F1-4E90-9876-76B076B3DA5E}" srcOrd="0" destOrd="0" presId="urn:microsoft.com/office/officeart/2005/8/layout/hierarchy3"/>
    <dgm:cxn modelId="{3473C61D-D10A-4DF5-9581-CFDB14A15E15}" type="presOf" srcId="{872E9948-02A1-4B52-ADD9-20B9062A9FE1}" destId="{751C3339-B7D5-487B-B762-7022B7585246}" srcOrd="0" destOrd="0" presId="urn:microsoft.com/office/officeart/2005/8/layout/hierarchy3"/>
    <dgm:cxn modelId="{936D7E23-CACF-493D-9135-6D84638C614A}" type="presOf" srcId="{291BB1FD-3164-4655-B3B2-009D57B30816}" destId="{479595DE-46C7-47A6-9870-DDD5963D2E55}" srcOrd="0" destOrd="0" presId="urn:microsoft.com/office/officeart/2005/8/layout/hierarchy3"/>
    <dgm:cxn modelId="{C058A22A-2556-460D-9364-72E48C544ABF}" type="presOf" srcId="{77FC84F9-E804-41E4-8B58-84EABC210874}" destId="{DA041223-6247-40D1-9AF0-A1F2311D5C40}" srcOrd="1" destOrd="0" presId="urn:microsoft.com/office/officeart/2005/8/layout/hierarchy3"/>
    <dgm:cxn modelId="{EFFC3D33-9FF7-4A56-AB45-BDF55E2A2DC8}" type="presOf" srcId="{77FC84F9-E804-41E4-8B58-84EABC210874}" destId="{04B20126-B554-4B8F-8050-7376DFFD96A2}" srcOrd="0" destOrd="0" presId="urn:microsoft.com/office/officeart/2005/8/layout/hierarchy3"/>
    <dgm:cxn modelId="{394CE636-018C-48C8-B24B-373CFA7973E0}" srcId="{291BB1FD-3164-4655-B3B2-009D57B30816}" destId="{40551861-12B9-4977-A8DD-A90B570718E2}" srcOrd="2" destOrd="0" parTransId="{F552B8DA-A70F-45A9-9234-DD9B1C519F74}" sibTransId="{22A99F48-BB3E-4D34-A602-717A746E7622}"/>
    <dgm:cxn modelId="{67B0DC39-E40C-45A0-A450-F84419C05ECA}" srcId="{40551861-12B9-4977-A8DD-A90B570718E2}" destId="{7831A4D5-7863-4111-BE84-1D117B834C71}" srcOrd="0" destOrd="0" parTransId="{1428FAD0-13DA-4EF0-85A3-B131B27BCFC7}" sibTransId="{2F1B24D8-7AA4-444E-82D2-43291E0D18C1}"/>
    <dgm:cxn modelId="{7279693F-7C5B-4590-A5A6-0D01A85A9702}" srcId="{291BB1FD-3164-4655-B3B2-009D57B30816}" destId="{872E9948-02A1-4B52-ADD9-20B9062A9FE1}" srcOrd="1" destOrd="0" parTransId="{EC0CF62E-8468-4FE3-A675-1A97C4C25F81}" sibTransId="{1761775A-AB03-4522-A484-2E0E60390268}"/>
    <dgm:cxn modelId="{7D93FC3F-ED2F-4BA7-9BEB-FAF8B0E9C45B}" type="presOf" srcId="{1428FAD0-13DA-4EF0-85A3-B131B27BCFC7}" destId="{A9E25201-0E97-4911-AE9F-FB4039384053}" srcOrd="0" destOrd="0" presId="urn:microsoft.com/office/officeart/2005/8/layout/hierarchy3"/>
    <dgm:cxn modelId="{A2C8AD5E-EB5E-425A-BDC8-36CAB4775EB7}" type="presOf" srcId="{872E9948-02A1-4B52-ADD9-20B9062A9FE1}" destId="{12731C36-72F8-4FAB-87FC-7B56D5AB6202}" srcOrd="1" destOrd="0" presId="urn:microsoft.com/office/officeart/2005/8/layout/hierarchy3"/>
    <dgm:cxn modelId="{EF0DED67-341E-4DD6-8A86-C1C86488578C}" type="presOf" srcId="{1A74A9B9-6AAB-436A-BB81-7962D169A424}" destId="{BDFA3837-82C1-4E40-80B5-62147B92A06F}" srcOrd="0" destOrd="0" presId="urn:microsoft.com/office/officeart/2005/8/layout/hierarchy3"/>
    <dgm:cxn modelId="{4DE62568-5BCC-4633-BD27-486FE6387C24}" srcId="{773B1A1B-C0C3-4818-95DA-9CBC287218C0}" destId="{9E539695-4319-4F38-86FE-1317699C6A1B}" srcOrd="1" destOrd="0" parTransId="{DB458824-92FF-4CE9-BE0C-73132FA455D6}" sibTransId="{65ACE718-6D9C-43D5-B7FF-7C133FC75E49}"/>
    <dgm:cxn modelId="{E5EBE96D-1E5C-491A-A27C-65A5E7A70668}" type="presOf" srcId="{40551861-12B9-4977-A8DD-A90B570718E2}" destId="{8AB7D00A-1608-47BA-B0BA-2B2008594BD6}" srcOrd="0" destOrd="0" presId="urn:microsoft.com/office/officeart/2005/8/layout/hierarchy3"/>
    <dgm:cxn modelId="{398B774E-64FC-435C-A0E9-62D1C383EFFB}" type="presOf" srcId="{9E539695-4319-4F38-86FE-1317699C6A1B}" destId="{1E5A5091-8D67-4267-A209-FF690C6C75B2}" srcOrd="0" destOrd="0" presId="urn:microsoft.com/office/officeart/2005/8/layout/hierarchy3"/>
    <dgm:cxn modelId="{48AE1A74-2A9E-49DB-8569-D4B4646893BD}" type="presOf" srcId="{7831A4D5-7863-4111-BE84-1D117B834C71}" destId="{526B987F-EBBE-4C9F-811E-ADFD7E5C3FC0}" srcOrd="0" destOrd="0" presId="urn:microsoft.com/office/officeart/2005/8/layout/hierarchy3"/>
    <dgm:cxn modelId="{59AF2855-93C3-4DBF-A1AB-7D3F0139E194}" srcId="{291BB1FD-3164-4655-B3B2-009D57B30816}" destId="{773B1A1B-C0C3-4818-95DA-9CBC287218C0}" srcOrd="3" destOrd="0" parTransId="{91E2C990-D451-465B-A318-4D58A365809E}" sibTransId="{68E9090D-1DCF-4C56-B968-FFD85834752B}"/>
    <dgm:cxn modelId="{035B9E7D-39F1-470B-ACED-FB91B61A36C8}" type="presOf" srcId="{E250BF75-F314-47F8-B613-32EC62D91BCC}" destId="{69261A78-3613-4F92-960C-DE4FFD2BA68E}" srcOrd="0" destOrd="0" presId="urn:microsoft.com/office/officeart/2005/8/layout/hierarchy3"/>
    <dgm:cxn modelId="{30EC6E89-1113-4FF9-8B79-C90730F5968D}" type="presOf" srcId="{B2BB8D21-976D-4817-A48C-F2A9F9FFBF32}" destId="{205EF401-8BA5-4A30-8948-5A0BC02BCB7D}" srcOrd="0" destOrd="0" presId="urn:microsoft.com/office/officeart/2005/8/layout/hierarchy3"/>
    <dgm:cxn modelId="{C452F391-83A1-4B6C-AC94-183C266FFCDF}" type="presOf" srcId="{8DEDF469-531B-444C-85FC-98A6E7E13B7C}" destId="{4BFB8BF4-D750-49AB-BA4E-8179108DEC66}" srcOrd="0" destOrd="0" presId="urn:microsoft.com/office/officeart/2005/8/layout/hierarchy3"/>
    <dgm:cxn modelId="{74CA31A3-7DF3-4EDC-9847-12BC8E472A19}" type="presOf" srcId="{773B1A1B-C0C3-4818-95DA-9CBC287218C0}" destId="{04457612-9C00-40DE-8632-BE00C06A350C}" srcOrd="0" destOrd="0" presId="urn:microsoft.com/office/officeart/2005/8/layout/hierarchy3"/>
    <dgm:cxn modelId="{743E3EAC-0954-4997-B055-F6C514AB139A}" type="presOf" srcId="{40551861-12B9-4977-A8DD-A90B570718E2}" destId="{263C28F4-F88B-47FD-A4AC-9D5122893D65}" srcOrd="1" destOrd="0" presId="urn:microsoft.com/office/officeart/2005/8/layout/hierarchy3"/>
    <dgm:cxn modelId="{38F87EB4-6CA9-40E8-9910-230FF218BD32}" srcId="{872E9948-02A1-4B52-ADD9-20B9062A9FE1}" destId="{8DEDF469-531B-444C-85FC-98A6E7E13B7C}" srcOrd="0" destOrd="0" parTransId="{9D5DE35A-760D-42C8-8B35-A8B45A09628B}" sibTransId="{F8B7E884-D1D5-4D85-9806-AF86E72350E9}"/>
    <dgm:cxn modelId="{7ED931C7-848B-48C7-B0BD-2CBC09EBA08C}" type="presOf" srcId="{773B1A1B-C0C3-4818-95DA-9CBC287218C0}" destId="{BCD4B600-5655-4F55-9552-74E59C4A04A5}" srcOrd="1" destOrd="0" presId="urn:microsoft.com/office/officeart/2005/8/layout/hierarchy3"/>
    <dgm:cxn modelId="{8998B0F5-1E28-47E3-8F06-786674B2865E}" srcId="{291BB1FD-3164-4655-B3B2-009D57B30816}" destId="{77FC84F9-E804-41E4-8B58-84EABC210874}" srcOrd="0" destOrd="0" parTransId="{8B6C62DA-5278-4343-8E32-00DC48E85497}" sibTransId="{1778A737-BD95-4FB3-BFDC-781CA0ED1E5C}"/>
    <dgm:cxn modelId="{E8A247F8-4916-4B60-A7B3-92317E1EC66D}" srcId="{77FC84F9-E804-41E4-8B58-84EABC210874}" destId="{E250BF75-F314-47F8-B613-32EC62D91BCC}" srcOrd="0" destOrd="0" parTransId="{BDB81C43-7871-44AA-8A0E-557B18C48F3F}" sibTransId="{720F6CB3-D34D-4953-9636-F95398562C05}"/>
    <dgm:cxn modelId="{D4C6A5F9-7689-4040-9BB2-81D7C7988350}" type="presOf" srcId="{DB458824-92FF-4CE9-BE0C-73132FA455D6}" destId="{A681DAFC-66AB-4881-B955-A476C1EBE38A}" srcOrd="0" destOrd="0" presId="urn:microsoft.com/office/officeart/2005/8/layout/hierarchy3"/>
    <dgm:cxn modelId="{17AFE7F9-FEDB-4B91-BFF6-95F7B0D9EF20}" type="presOf" srcId="{BDB81C43-7871-44AA-8A0E-557B18C48F3F}" destId="{2D058EC7-A617-478D-AE64-24E073CCDE9C}" srcOrd="0" destOrd="0" presId="urn:microsoft.com/office/officeart/2005/8/layout/hierarchy3"/>
    <dgm:cxn modelId="{DA099E90-9012-4900-A248-9E254D269FE6}" type="presParOf" srcId="{479595DE-46C7-47A6-9870-DDD5963D2E55}" destId="{6007F8BE-2D9F-479E-83F5-1C7CDF6FDF11}" srcOrd="0" destOrd="0" presId="urn:microsoft.com/office/officeart/2005/8/layout/hierarchy3"/>
    <dgm:cxn modelId="{A42580DA-0F98-443E-B061-CD7244B4961D}" type="presParOf" srcId="{6007F8BE-2D9F-479E-83F5-1C7CDF6FDF11}" destId="{AFAE3215-8359-4CCE-8B79-1470454237E1}" srcOrd="0" destOrd="0" presId="urn:microsoft.com/office/officeart/2005/8/layout/hierarchy3"/>
    <dgm:cxn modelId="{27C460A7-CF84-4FCB-921B-CE113038BDE4}" type="presParOf" srcId="{AFAE3215-8359-4CCE-8B79-1470454237E1}" destId="{04B20126-B554-4B8F-8050-7376DFFD96A2}" srcOrd="0" destOrd="0" presId="urn:microsoft.com/office/officeart/2005/8/layout/hierarchy3"/>
    <dgm:cxn modelId="{C71248F4-E418-4318-BEB8-4F71F7855E69}" type="presParOf" srcId="{AFAE3215-8359-4CCE-8B79-1470454237E1}" destId="{DA041223-6247-40D1-9AF0-A1F2311D5C40}" srcOrd="1" destOrd="0" presId="urn:microsoft.com/office/officeart/2005/8/layout/hierarchy3"/>
    <dgm:cxn modelId="{F99C70FF-557D-4523-8AF9-2EA2CBFA1836}" type="presParOf" srcId="{6007F8BE-2D9F-479E-83F5-1C7CDF6FDF11}" destId="{478B2FC9-848E-41C9-81DF-179F7EDC8595}" srcOrd="1" destOrd="0" presId="urn:microsoft.com/office/officeart/2005/8/layout/hierarchy3"/>
    <dgm:cxn modelId="{36BCBABC-D9D4-4BE8-8796-4A785AD1ABC7}" type="presParOf" srcId="{478B2FC9-848E-41C9-81DF-179F7EDC8595}" destId="{2D058EC7-A617-478D-AE64-24E073CCDE9C}" srcOrd="0" destOrd="0" presId="urn:microsoft.com/office/officeart/2005/8/layout/hierarchy3"/>
    <dgm:cxn modelId="{5F356F5F-B2B7-4671-954B-638CFA89DB2A}" type="presParOf" srcId="{478B2FC9-848E-41C9-81DF-179F7EDC8595}" destId="{69261A78-3613-4F92-960C-DE4FFD2BA68E}" srcOrd="1" destOrd="0" presId="urn:microsoft.com/office/officeart/2005/8/layout/hierarchy3"/>
    <dgm:cxn modelId="{9ECD130F-A197-4902-85D9-8BFBEAAC6151}" type="presParOf" srcId="{479595DE-46C7-47A6-9870-DDD5963D2E55}" destId="{E1E9E220-2C0C-49BF-A467-E6EBBB263FFB}" srcOrd="1" destOrd="0" presId="urn:microsoft.com/office/officeart/2005/8/layout/hierarchy3"/>
    <dgm:cxn modelId="{64D9E2B0-DFBB-4C78-8913-D51A6737253E}" type="presParOf" srcId="{E1E9E220-2C0C-49BF-A467-E6EBBB263FFB}" destId="{11D12077-281C-4F4B-B2B1-24023F1CC523}" srcOrd="0" destOrd="0" presId="urn:microsoft.com/office/officeart/2005/8/layout/hierarchy3"/>
    <dgm:cxn modelId="{E181B603-B7C5-4E5C-BEC3-2E3DFD2CB75D}" type="presParOf" srcId="{11D12077-281C-4F4B-B2B1-24023F1CC523}" destId="{751C3339-B7D5-487B-B762-7022B7585246}" srcOrd="0" destOrd="0" presId="urn:microsoft.com/office/officeart/2005/8/layout/hierarchy3"/>
    <dgm:cxn modelId="{D44E2BF3-335E-4CB4-98B2-FD67C1F2B5D9}" type="presParOf" srcId="{11D12077-281C-4F4B-B2B1-24023F1CC523}" destId="{12731C36-72F8-4FAB-87FC-7B56D5AB6202}" srcOrd="1" destOrd="0" presId="urn:microsoft.com/office/officeart/2005/8/layout/hierarchy3"/>
    <dgm:cxn modelId="{7FCFD07D-AEDD-4003-BA89-55CAB35F6E26}" type="presParOf" srcId="{E1E9E220-2C0C-49BF-A467-E6EBBB263FFB}" destId="{7F6881A8-1186-4B38-91ED-9BB45396AE04}" srcOrd="1" destOrd="0" presId="urn:microsoft.com/office/officeart/2005/8/layout/hierarchy3"/>
    <dgm:cxn modelId="{4467D7D1-44DE-41FE-8453-15347BB46BC9}" type="presParOf" srcId="{7F6881A8-1186-4B38-91ED-9BB45396AE04}" destId="{5C64A40C-C3F1-4E90-9876-76B076B3DA5E}" srcOrd="0" destOrd="0" presId="urn:microsoft.com/office/officeart/2005/8/layout/hierarchy3"/>
    <dgm:cxn modelId="{432394BB-910A-4BC9-B1AC-245745A0C338}" type="presParOf" srcId="{7F6881A8-1186-4B38-91ED-9BB45396AE04}" destId="{4BFB8BF4-D750-49AB-BA4E-8179108DEC66}" srcOrd="1" destOrd="0" presId="urn:microsoft.com/office/officeart/2005/8/layout/hierarchy3"/>
    <dgm:cxn modelId="{EC2E4E5E-CC1A-4B46-970E-36C79FCFF9F0}" type="presParOf" srcId="{479595DE-46C7-47A6-9870-DDD5963D2E55}" destId="{5E0AD9E2-8678-468F-A17C-AF92693B8645}" srcOrd="2" destOrd="0" presId="urn:microsoft.com/office/officeart/2005/8/layout/hierarchy3"/>
    <dgm:cxn modelId="{2EFF93F5-8742-4B36-BE88-E72DB4C5A776}" type="presParOf" srcId="{5E0AD9E2-8678-468F-A17C-AF92693B8645}" destId="{01B2F9E5-E20B-4C4D-B8C6-7FDD76FFE44D}" srcOrd="0" destOrd="0" presId="urn:microsoft.com/office/officeart/2005/8/layout/hierarchy3"/>
    <dgm:cxn modelId="{255898C7-56E1-4AAA-8B2A-F25FAC7F9727}" type="presParOf" srcId="{01B2F9E5-E20B-4C4D-B8C6-7FDD76FFE44D}" destId="{8AB7D00A-1608-47BA-B0BA-2B2008594BD6}" srcOrd="0" destOrd="0" presId="urn:microsoft.com/office/officeart/2005/8/layout/hierarchy3"/>
    <dgm:cxn modelId="{26B327CF-9511-443F-8F6E-B0774625702C}" type="presParOf" srcId="{01B2F9E5-E20B-4C4D-B8C6-7FDD76FFE44D}" destId="{263C28F4-F88B-47FD-A4AC-9D5122893D65}" srcOrd="1" destOrd="0" presId="urn:microsoft.com/office/officeart/2005/8/layout/hierarchy3"/>
    <dgm:cxn modelId="{749A908A-437F-4E22-8713-8F63AB62A5EA}" type="presParOf" srcId="{5E0AD9E2-8678-468F-A17C-AF92693B8645}" destId="{5F1B83CE-2E67-4A7D-933A-2CE456A1E36C}" srcOrd="1" destOrd="0" presId="urn:microsoft.com/office/officeart/2005/8/layout/hierarchy3"/>
    <dgm:cxn modelId="{68BE11CF-76EB-4D23-B320-C354E618AC05}" type="presParOf" srcId="{5F1B83CE-2E67-4A7D-933A-2CE456A1E36C}" destId="{A9E25201-0E97-4911-AE9F-FB4039384053}" srcOrd="0" destOrd="0" presId="urn:microsoft.com/office/officeart/2005/8/layout/hierarchy3"/>
    <dgm:cxn modelId="{2183F184-2483-4CCA-A010-894A1C093BCF}" type="presParOf" srcId="{5F1B83CE-2E67-4A7D-933A-2CE456A1E36C}" destId="{526B987F-EBBE-4C9F-811E-ADFD7E5C3FC0}" srcOrd="1" destOrd="0" presId="urn:microsoft.com/office/officeart/2005/8/layout/hierarchy3"/>
    <dgm:cxn modelId="{F29335C4-2374-459E-A559-61A4EA2AF4FA}" type="presParOf" srcId="{479595DE-46C7-47A6-9870-DDD5963D2E55}" destId="{F685D83B-3CF9-4EF7-B5D6-4014C7F5EE0F}" srcOrd="3" destOrd="0" presId="urn:microsoft.com/office/officeart/2005/8/layout/hierarchy3"/>
    <dgm:cxn modelId="{2D59093A-4FFC-4ABD-B696-95C146D0C032}" type="presParOf" srcId="{F685D83B-3CF9-4EF7-B5D6-4014C7F5EE0F}" destId="{FAFD0E14-8DE8-4CB4-9A99-BBE5D5457ED9}" srcOrd="0" destOrd="0" presId="urn:microsoft.com/office/officeart/2005/8/layout/hierarchy3"/>
    <dgm:cxn modelId="{600CAB8F-0966-45F8-99BD-EE4D2DACBEFD}" type="presParOf" srcId="{FAFD0E14-8DE8-4CB4-9A99-BBE5D5457ED9}" destId="{04457612-9C00-40DE-8632-BE00C06A350C}" srcOrd="0" destOrd="0" presId="urn:microsoft.com/office/officeart/2005/8/layout/hierarchy3"/>
    <dgm:cxn modelId="{90875753-0F63-4105-8F34-5E10BC07528F}" type="presParOf" srcId="{FAFD0E14-8DE8-4CB4-9A99-BBE5D5457ED9}" destId="{BCD4B600-5655-4F55-9552-74E59C4A04A5}" srcOrd="1" destOrd="0" presId="urn:microsoft.com/office/officeart/2005/8/layout/hierarchy3"/>
    <dgm:cxn modelId="{CC4E491E-01F9-4E1A-9D81-53862E255FA7}" type="presParOf" srcId="{F685D83B-3CF9-4EF7-B5D6-4014C7F5EE0F}" destId="{85105C05-4807-421D-8C9B-2DB256939F48}" srcOrd="1" destOrd="0" presId="urn:microsoft.com/office/officeart/2005/8/layout/hierarchy3"/>
    <dgm:cxn modelId="{CED4932B-D600-4198-9122-1117C60F9B88}" type="presParOf" srcId="{85105C05-4807-421D-8C9B-2DB256939F48}" destId="{205EF401-8BA5-4A30-8948-5A0BC02BCB7D}" srcOrd="0" destOrd="0" presId="urn:microsoft.com/office/officeart/2005/8/layout/hierarchy3"/>
    <dgm:cxn modelId="{AC34989B-35EF-43D1-BAA9-43F25F44B987}" type="presParOf" srcId="{85105C05-4807-421D-8C9B-2DB256939F48}" destId="{BDFA3837-82C1-4E40-80B5-62147B92A06F}" srcOrd="1" destOrd="0" presId="urn:microsoft.com/office/officeart/2005/8/layout/hierarchy3"/>
    <dgm:cxn modelId="{BF837371-1AB8-446F-956C-8BF3EC6A30FE}" type="presParOf" srcId="{85105C05-4807-421D-8C9B-2DB256939F48}" destId="{A681DAFC-66AB-4881-B955-A476C1EBE38A}" srcOrd="2" destOrd="0" presId="urn:microsoft.com/office/officeart/2005/8/layout/hierarchy3"/>
    <dgm:cxn modelId="{4E4647DE-81F4-46D9-92E1-353240BB44C6}" type="presParOf" srcId="{85105C05-4807-421D-8C9B-2DB256939F48}" destId="{1E5A5091-8D67-4267-A209-FF690C6C75B2}" srcOrd="3"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74D6125-FBF4-462C-BB56-8DCDB12F2EFF}" type="doc">
      <dgm:prSet loTypeId="urn:microsoft.com/office/officeart/2005/8/layout/default" loCatId="list" qsTypeId="urn:microsoft.com/office/officeart/2005/8/quickstyle/simple1" qsCatId="simple" csTypeId="urn:microsoft.com/office/officeart/2005/8/colors/accent2_1" csCatId="accent2" phldr="1"/>
      <dgm:spPr/>
      <dgm:t>
        <a:bodyPr/>
        <a:lstStyle/>
        <a:p>
          <a:endParaRPr lang="en-US"/>
        </a:p>
      </dgm:t>
    </dgm:pt>
    <dgm:pt modelId="{1677FD69-49D3-479C-BE40-37F578078710}">
      <dgm:prSet phldrT="[Text]"/>
      <dgm:spPr/>
      <dgm:t>
        <a:bodyPr/>
        <a:lstStyle/>
        <a:p>
          <a:r>
            <a:rPr lang="en-US" b="1" dirty="0"/>
            <a:t>Fever</a:t>
          </a:r>
        </a:p>
      </dgm:t>
    </dgm:pt>
    <dgm:pt modelId="{D93B7D84-113A-42F8-ABC8-0CEC607EF665}" type="parTrans" cxnId="{9D9DAD17-A962-4527-AB4B-5810DB740BE7}">
      <dgm:prSet/>
      <dgm:spPr/>
      <dgm:t>
        <a:bodyPr/>
        <a:lstStyle/>
        <a:p>
          <a:endParaRPr lang="en-US"/>
        </a:p>
      </dgm:t>
    </dgm:pt>
    <dgm:pt modelId="{160B0C06-265F-41A4-B0AC-ECC9664A3FF2}" type="sibTrans" cxnId="{9D9DAD17-A962-4527-AB4B-5810DB740BE7}">
      <dgm:prSet/>
      <dgm:spPr/>
      <dgm:t>
        <a:bodyPr/>
        <a:lstStyle/>
        <a:p>
          <a:endParaRPr lang="en-US"/>
        </a:p>
      </dgm:t>
    </dgm:pt>
    <dgm:pt modelId="{8245BE5F-CD5F-420E-BF34-3488D097C055}">
      <dgm:prSet phldrT="[Text]"/>
      <dgm:spPr/>
      <dgm:t>
        <a:bodyPr/>
        <a:lstStyle/>
        <a:p>
          <a:r>
            <a:rPr lang="en-US" b="1" dirty="0"/>
            <a:t>Acute Anemia</a:t>
          </a:r>
        </a:p>
      </dgm:t>
    </dgm:pt>
    <dgm:pt modelId="{57B2193E-A132-4988-A482-24F4BF51B7AF}" type="parTrans" cxnId="{AB1A4A92-06E0-45F4-94CA-C27D876DD22E}">
      <dgm:prSet/>
      <dgm:spPr/>
      <dgm:t>
        <a:bodyPr/>
        <a:lstStyle/>
        <a:p>
          <a:endParaRPr lang="en-US"/>
        </a:p>
      </dgm:t>
    </dgm:pt>
    <dgm:pt modelId="{CEB13CBE-B9FB-4DED-B79C-66B85A5FDCBB}" type="sibTrans" cxnId="{AB1A4A92-06E0-45F4-94CA-C27D876DD22E}">
      <dgm:prSet/>
      <dgm:spPr/>
      <dgm:t>
        <a:bodyPr/>
        <a:lstStyle/>
        <a:p>
          <a:endParaRPr lang="en-US"/>
        </a:p>
      </dgm:t>
    </dgm:pt>
    <dgm:pt modelId="{EFBCC96D-CE98-45C9-BF37-C44604F813BA}">
      <dgm:prSet/>
      <dgm:spPr/>
      <dgm:t>
        <a:bodyPr/>
        <a:lstStyle/>
        <a:p>
          <a:r>
            <a:rPr lang="en-US" b="1" dirty="0"/>
            <a:t>Vaso-Occlusive Pain</a:t>
          </a:r>
        </a:p>
      </dgm:t>
    </dgm:pt>
    <dgm:pt modelId="{293E9032-CCDD-4A20-A4F9-246C37CD8901}" type="parTrans" cxnId="{0D0F4609-4958-447D-A825-DB42E5300390}">
      <dgm:prSet/>
      <dgm:spPr/>
      <dgm:t>
        <a:bodyPr/>
        <a:lstStyle/>
        <a:p>
          <a:endParaRPr lang="en-US"/>
        </a:p>
      </dgm:t>
    </dgm:pt>
    <dgm:pt modelId="{6213FD3D-D355-46F7-A694-FF8DAB35D712}" type="sibTrans" cxnId="{0D0F4609-4958-447D-A825-DB42E5300390}">
      <dgm:prSet/>
      <dgm:spPr/>
      <dgm:t>
        <a:bodyPr/>
        <a:lstStyle/>
        <a:p>
          <a:endParaRPr lang="en-US"/>
        </a:p>
      </dgm:t>
    </dgm:pt>
    <dgm:pt modelId="{32939284-1D15-4A17-971E-77B760791AA7}">
      <dgm:prSet phldrT="[Text]"/>
      <dgm:spPr/>
      <dgm:t>
        <a:bodyPr/>
        <a:lstStyle/>
        <a:p>
          <a:r>
            <a:rPr lang="en-US" dirty="0"/>
            <a:t>Medical emergency for  infants</a:t>
          </a:r>
        </a:p>
      </dgm:t>
    </dgm:pt>
    <dgm:pt modelId="{580C9384-C763-48DC-BF28-3241EE05608A}" type="parTrans" cxnId="{BC3A3FEA-B72C-47A8-8DC2-AD0B0C68E67F}">
      <dgm:prSet/>
      <dgm:spPr/>
      <dgm:t>
        <a:bodyPr/>
        <a:lstStyle/>
        <a:p>
          <a:endParaRPr lang="en-IN"/>
        </a:p>
      </dgm:t>
    </dgm:pt>
    <dgm:pt modelId="{2BB0CABA-C10D-403A-958D-E811BDB49CF4}" type="sibTrans" cxnId="{BC3A3FEA-B72C-47A8-8DC2-AD0B0C68E67F}">
      <dgm:prSet/>
      <dgm:spPr/>
      <dgm:t>
        <a:bodyPr/>
        <a:lstStyle/>
        <a:p>
          <a:endParaRPr lang="en-IN"/>
        </a:p>
      </dgm:t>
    </dgm:pt>
    <dgm:pt modelId="{8BD53D03-4753-4DC6-9020-079A0D83A285}">
      <dgm:prSet/>
      <dgm:spPr/>
      <dgm:t>
        <a:bodyPr/>
        <a:lstStyle/>
        <a:p>
          <a:r>
            <a:rPr lang="en-US" dirty="0"/>
            <a:t>Prompt evaluation for older children and adults with antibiotic treatment</a:t>
          </a:r>
        </a:p>
      </dgm:t>
    </dgm:pt>
    <dgm:pt modelId="{910E5867-9A1A-432A-A5F7-9AD046F7F08B}" type="parTrans" cxnId="{D7363761-03D4-4600-A7C7-2A518F3DCA0C}">
      <dgm:prSet/>
      <dgm:spPr/>
      <dgm:t>
        <a:bodyPr/>
        <a:lstStyle/>
        <a:p>
          <a:endParaRPr lang="en-IN"/>
        </a:p>
      </dgm:t>
    </dgm:pt>
    <dgm:pt modelId="{43F3CCEE-E112-490B-A9BD-CE4115F38A94}" type="sibTrans" cxnId="{D7363761-03D4-4600-A7C7-2A518F3DCA0C}">
      <dgm:prSet/>
      <dgm:spPr/>
      <dgm:t>
        <a:bodyPr/>
        <a:lstStyle/>
        <a:p>
          <a:endParaRPr lang="en-IN"/>
        </a:p>
      </dgm:t>
    </dgm:pt>
    <dgm:pt modelId="{032C0E4A-A551-4C64-86A9-1C114E4E7D96}">
      <dgm:prSet/>
      <dgm:spPr/>
      <dgm:t>
        <a:bodyPr/>
        <a:lstStyle/>
        <a:p>
          <a:r>
            <a:rPr lang="en-US" dirty="0"/>
            <a:t>Non-pharmacologic management of pain</a:t>
          </a:r>
        </a:p>
      </dgm:t>
    </dgm:pt>
    <dgm:pt modelId="{145BDAAD-EDCC-428C-8506-BD9D92DFDE7D}" type="parTrans" cxnId="{3905B520-16D3-4DB1-8A99-B1FBD70412F2}">
      <dgm:prSet/>
      <dgm:spPr/>
      <dgm:t>
        <a:bodyPr/>
        <a:lstStyle/>
        <a:p>
          <a:endParaRPr lang="en-IN"/>
        </a:p>
      </dgm:t>
    </dgm:pt>
    <dgm:pt modelId="{5815B106-83AC-41EF-B77D-BF329D425AC9}" type="sibTrans" cxnId="{3905B520-16D3-4DB1-8A99-B1FBD70412F2}">
      <dgm:prSet/>
      <dgm:spPr/>
      <dgm:t>
        <a:bodyPr/>
        <a:lstStyle/>
        <a:p>
          <a:endParaRPr lang="en-IN"/>
        </a:p>
      </dgm:t>
    </dgm:pt>
    <dgm:pt modelId="{FECBDDC0-F312-4141-B04C-5E8CD8068C73}">
      <dgm:prSet/>
      <dgm:spPr/>
      <dgm:t>
        <a:bodyPr/>
        <a:lstStyle/>
        <a:p>
          <a:r>
            <a:rPr lang="en-US" dirty="0"/>
            <a:t>Pharmacologic pain plan</a:t>
          </a:r>
        </a:p>
      </dgm:t>
    </dgm:pt>
    <dgm:pt modelId="{94436471-3F06-4B04-8C1C-0B712BEF3CFB}" type="parTrans" cxnId="{CCAA9EE6-CC88-47F7-878A-1468046D7380}">
      <dgm:prSet/>
      <dgm:spPr/>
      <dgm:t>
        <a:bodyPr/>
        <a:lstStyle/>
        <a:p>
          <a:endParaRPr lang="en-IN"/>
        </a:p>
      </dgm:t>
    </dgm:pt>
    <dgm:pt modelId="{81D1AC35-ED83-4091-A10E-FE0982F27527}" type="sibTrans" cxnId="{CCAA9EE6-CC88-47F7-878A-1468046D7380}">
      <dgm:prSet/>
      <dgm:spPr/>
      <dgm:t>
        <a:bodyPr/>
        <a:lstStyle/>
        <a:p>
          <a:endParaRPr lang="en-IN"/>
        </a:p>
      </dgm:t>
    </dgm:pt>
    <dgm:pt modelId="{30654229-0FB7-4DA4-9263-17A8069A5936}">
      <dgm:prSet/>
      <dgm:spPr/>
      <dgm:t>
        <a:bodyPr/>
        <a:lstStyle/>
        <a:p>
          <a:r>
            <a:rPr lang="en-US" dirty="0"/>
            <a:t>Hydration</a:t>
          </a:r>
        </a:p>
      </dgm:t>
    </dgm:pt>
    <dgm:pt modelId="{73CD8A84-A2DE-4F1D-8C92-A22B272D2AD9}" type="parTrans" cxnId="{FFD0FD37-F811-4037-88F0-4867182F2287}">
      <dgm:prSet/>
      <dgm:spPr/>
      <dgm:t>
        <a:bodyPr/>
        <a:lstStyle/>
        <a:p>
          <a:endParaRPr lang="en-IN"/>
        </a:p>
      </dgm:t>
    </dgm:pt>
    <dgm:pt modelId="{6CE64515-73F9-4A91-8338-5662CCB8C005}" type="sibTrans" cxnId="{FFD0FD37-F811-4037-88F0-4867182F2287}">
      <dgm:prSet/>
      <dgm:spPr/>
      <dgm:t>
        <a:bodyPr/>
        <a:lstStyle/>
        <a:p>
          <a:endParaRPr lang="en-IN"/>
        </a:p>
      </dgm:t>
    </dgm:pt>
    <dgm:pt modelId="{21D8104A-397F-42B8-82EB-75F14E410A34}">
      <dgm:prSet phldrT="[Text]"/>
      <dgm:spPr/>
      <dgm:t>
        <a:bodyPr/>
        <a:lstStyle/>
        <a:p>
          <a:r>
            <a:rPr lang="en-US" dirty="0"/>
            <a:t>CBC, reticulocyte count</a:t>
          </a:r>
        </a:p>
      </dgm:t>
    </dgm:pt>
    <dgm:pt modelId="{473A0A5A-3CEF-42EC-8E34-9E515E60C6DB}" type="parTrans" cxnId="{A6552C23-1642-41F2-824C-E31C0347EDEE}">
      <dgm:prSet/>
      <dgm:spPr/>
      <dgm:t>
        <a:bodyPr/>
        <a:lstStyle/>
        <a:p>
          <a:endParaRPr lang="en-IN"/>
        </a:p>
      </dgm:t>
    </dgm:pt>
    <dgm:pt modelId="{3E885042-28DC-4BE8-BE25-2503F18586BE}" type="sibTrans" cxnId="{A6552C23-1642-41F2-824C-E31C0347EDEE}">
      <dgm:prSet/>
      <dgm:spPr/>
      <dgm:t>
        <a:bodyPr/>
        <a:lstStyle/>
        <a:p>
          <a:endParaRPr lang="en-IN"/>
        </a:p>
      </dgm:t>
    </dgm:pt>
    <dgm:pt modelId="{E9EE8C88-6776-4157-A7F9-03DD0BF5D786}">
      <dgm:prSet/>
      <dgm:spPr/>
      <dgm:t>
        <a:bodyPr/>
        <a:lstStyle/>
        <a:p>
          <a:r>
            <a:rPr lang="en-US" dirty="0"/>
            <a:t>Confirm cause</a:t>
          </a:r>
        </a:p>
      </dgm:t>
    </dgm:pt>
    <dgm:pt modelId="{56F210FE-F9C4-4486-9DE2-5D7747887EB3}" type="parTrans" cxnId="{E8D6E2CD-1237-4C1D-9181-5234F45BCC53}">
      <dgm:prSet/>
      <dgm:spPr/>
      <dgm:t>
        <a:bodyPr/>
        <a:lstStyle/>
        <a:p>
          <a:endParaRPr lang="en-IN"/>
        </a:p>
      </dgm:t>
    </dgm:pt>
    <dgm:pt modelId="{59BEC522-4750-4E42-877C-7C412798E00D}" type="sibTrans" cxnId="{E8D6E2CD-1237-4C1D-9181-5234F45BCC53}">
      <dgm:prSet/>
      <dgm:spPr/>
      <dgm:t>
        <a:bodyPr/>
        <a:lstStyle/>
        <a:p>
          <a:endParaRPr lang="en-IN"/>
        </a:p>
      </dgm:t>
    </dgm:pt>
    <dgm:pt modelId="{D80F1608-0A47-4B91-B384-46AD99336009}">
      <dgm:prSet/>
      <dgm:spPr/>
      <dgm:t>
        <a:bodyPr/>
        <a:lstStyle/>
        <a:p>
          <a:r>
            <a:rPr lang="en-US" dirty="0"/>
            <a:t>Red blood cell transfusion</a:t>
          </a:r>
        </a:p>
      </dgm:t>
    </dgm:pt>
    <dgm:pt modelId="{9F026DBC-B42F-47A0-9E26-217335FBDFC8}" type="parTrans" cxnId="{5F381C93-19BD-4DC1-BDE3-B6EABFA9ACE4}">
      <dgm:prSet/>
      <dgm:spPr/>
      <dgm:t>
        <a:bodyPr/>
        <a:lstStyle/>
        <a:p>
          <a:endParaRPr lang="en-IN"/>
        </a:p>
      </dgm:t>
    </dgm:pt>
    <dgm:pt modelId="{ED0B43FD-E371-4821-984D-C89F17EC9291}" type="sibTrans" cxnId="{5F381C93-19BD-4DC1-BDE3-B6EABFA9ACE4}">
      <dgm:prSet/>
      <dgm:spPr/>
      <dgm:t>
        <a:bodyPr/>
        <a:lstStyle/>
        <a:p>
          <a:endParaRPr lang="en-IN"/>
        </a:p>
      </dgm:t>
    </dgm:pt>
    <dgm:pt modelId="{8E02ECBF-E533-4E50-9D95-2D4CBB1F20AA}" type="pres">
      <dgm:prSet presAssocID="{D74D6125-FBF4-462C-BB56-8DCDB12F2EFF}" presName="diagram" presStyleCnt="0">
        <dgm:presLayoutVars>
          <dgm:dir/>
          <dgm:resizeHandles val="exact"/>
        </dgm:presLayoutVars>
      </dgm:prSet>
      <dgm:spPr/>
    </dgm:pt>
    <dgm:pt modelId="{FAB90A23-2037-4424-8075-F13359BDDF9B}" type="pres">
      <dgm:prSet presAssocID="{1677FD69-49D3-479C-BE40-37F578078710}" presName="node" presStyleLbl="node1" presStyleIdx="0" presStyleCnt="3">
        <dgm:presLayoutVars>
          <dgm:bulletEnabled val="1"/>
        </dgm:presLayoutVars>
      </dgm:prSet>
      <dgm:spPr/>
    </dgm:pt>
    <dgm:pt modelId="{46EEDD98-D595-4716-B8C8-24A01BEED31F}" type="pres">
      <dgm:prSet presAssocID="{160B0C06-265F-41A4-B0AC-ECC9664A3FF2}" presName="sibTrans" presStyleCnt="0"/>
      <dgm:spPr/>
    </dgm:pt>
    <dgm:pt modelId="{E308C009-0A0C-45E4-9BC5-BB8FD1BA5035}" type="pres">
      <dgm:prSet presAssocID="{EFBCC96D-CE98-45C9-BF37-C44604F813BA}" presName="node" presStyleLbl="node1" presStyleIdx="1" presStyleCnt="3">
        <dgm:presLayoutVars>
          <dgm:bulletEnabled val="1"/>
        </dgm:presLayoutVars>
      </dgm:prSet>
      <dgm:spPr/>
    </dgm:pt>
    <dgm:pt modelId="{62184846-83F3-4076-A666-10C7A13901DA}" type="pres">
      <dgm:prSet presAssocID="{6213FD3D-D355-46F7-A694-FF8DAB35D712}" presName="sibTrans" presStyleCnt="0"/>
      <dgm:spPr/>
    </dgm:pt>
    <dgm:pt modelId="{828AD615-1E35-4BBA-A7B6-DC48F912525D}" type="pres">
      <dgm:prSet presAssocID="{8245BE5F-CD5F-420E-BF34-3488D097C055}" presName="node" presStyleLbl="node1" presStyleIdx="2" presStyleCnt="3">
        <dgm:presLayoutVars>
          <dgm:bulletEnabled val="1"/>
        </dgm:presLayoutVars>
      </dgm:prSet>
      <dgm:spPr/>
    </dgm:pt>
  </dgm:ptLst>
  <dgm:cxnLst>
    <dgm:cxn modelId="{0D0F4609-4958-447D-A825-DB42E5300390}" srcId="{D74D6125-FBF4-462C-BB56-8DCDB12F2EFF}" destId="{EFBCC96D-CE98-45C9-BF37-C44604F813BA}" srcOrd="1" destOrd="0" parTransId="{293E9032-CCDD-4A20-A4F9-246C37CD8901}" sibTransId="{6213FD3D-D355-46F7-A694-FF8DAB35D712}"/>
    <dgm:cxn modelId="{87993212-D58C-4F11-9E55-08945C25B718}" type="presOf" srcId="{32939284-1D15-4A17-971E-77B760791AA7}" destId="{FAB90A23-2037-4424-8075-F13359BDDF9B}" srcOrd="0" destOrd="1" presId="urn:microsoft.com/office/officeart/2005/8/layout/default"/>
    <dgm:cxn modelId="{9D9DAD17-A962-4527-AB4B-5810DB740BE7}" srcId="{D74D6125-FBF4-462C-BB56-8DCDB12F2EFF}" destId="{1677FD69-49D3-479C-BE40-37F578078710}" srcOrd="0" destOrd="0" parTransId="{D93B7D84-113A-42F8-ABC8-0CEC607EF665}" sibTransId="{160B0C06-265F-41A4-B0AC-ECC9664A3FF2}"/>
    <dgm:cxn modelId="{3905B520-16D3-4DB1-8A99-B1FBD70412F2}" srcId="{EFBCC96D-CE98-45C9-BF37-C44604F813BA}" destId="{032C0E4A-A551-4C64-86A9-1C114E4E7D96}" srcOrd="0" destOrd="0" parTransId="{145BDAAD-EDCC-428C-8506-BD9D92DFDE7D}" sibTransId="{5815B106-83AC-41EF-B77D-BF329D425AC9}"/>
    <dgm:cxn modelId="{A6552C23-1642-41F2-824C-E31C0347EDEE}" srcId="{8245BE5F-CD5F-420E-BF34-3488D097C055}" destId="{21D8104A-397F-42B8-82EB-75F14E410A34}" srcOrd="0" destOrd="0" parTransId="{473A0A5A-3CEF-42EC-8E34-9E515E60C6DB}" sibTransId="{3E885042-28DC-4BE8-BE25-2503F18586BE}"/>
    <dgm:cxn modelId="{FFD0FD37-F811-4037-88F0-4867182F2287}" srcId="{EFBCC96D-CE98-45C9-BF37-C44604F813BA}" destId="{30654229-0FB7-4DA4-9263-17A8069A5936}" srcOrd="2" destOrd="0" parTransId="{73CD8A84-A2DE-4F1D-8C92-A22B272D2AD9}" sibTransId="{6CE64515-73F9-4A91-8338-5662CCB8C005}"/>
    <dgm:cxn modelId="{D7363761-03D4-4600-A7C7-2A518F3DCA0C}" srcId="{1677FD69-49D3-479C-BE40-37F578078710}" destId="{8BD53D03-4753-4DC6-9020-079A0D83A285}" srcOrd="1" destOrd="0" parTransId="{910E5867-9A1A-432A-A5F7-9AD046F7F08B}" sibTransId="{43F3CCEE-E112-490B-A9BD-CE4115F38A94}"/>
    <dgm:cxn modelId="{EE9C0365-33C3-445A-9D4E-12B817193C42}" type="presOf" srcId="{FECBDDC0-F312-4141-B04C-5E8CD8068C73}" destId="{E308C009-0A0C-45E4-9BC5-BB8FD1BA5035}" srcOrd="0" destOrd="2" presId="urn:microsoft.com/office/officeart/2005/8/layout/default"/>
    <dgm:cxn modelId="{FFCE7350-3CBC-4D83-9AE1-4B6FC2CB5A1B}" type="presOf" srcId="{21D8104A-397F-42B8-82EB-75F14E410A34}" destId="{828AD615-1E35-4BBA-A7B6-DC48F912525D}" srcOrd="0" destOrd="1" presId="urn:microsoft.com/office/officeart/2005/8/layout/default"/>
    <dgm:cxn modelId="{31250E8B-A338-4987-9A41-2A03923CE40A}" type="presOf" srcId="{032C0E4A-A551-4C64-86A9-1C114E4E7D96}" destId="{E308C009-0A0C-45E4-9BC5-BB8FD1BA5035}" srcOrd="0" destOrd="1" presId="urn:microsoft.com/office/officeart/2005/8/layout/default"/>
    <dgm:cxn modelId="{E82CA28E-E8F5-4C4D-83D4-8CB70C2C15FF}" type="presOf" srcId="{EFBCC96D-CE98-45C9-BF37-C44604F813BA}" destId="{E308C009-0A0C-45E4-9BC5-BB8FD1BA5035}" srcOrd="0" destOrd="0" presId="urn:microsoft.com/office/officeart/2005/8/layout/default"/>
    <dgm:cxn modelId="{AB1A4A92-06E0-45F4-94CA-C27D876DD22E}" srcId="{D74D6125-FBF4-462C-BB56-8DCDB12F2EFF}" destId="{8245BE5F-CD5F-420E-BF34-3488D097C055}" srcOrd="2" destOrd="0" parTransId="{57B2193E-A132-4988-A482-24F4BF51B7AF}" sibTransId="{CEB13CBE-B9FB-4DED-B79C-66B85A5FDCBB}"/>
    <dgm:cxn modelId="{5F381C93-19BD-4DC1-BDE3-B6EABFA9ACE4}" srcId="{8245BE5F-CD5F-420E-BF34-3488D097C055}" destId="{D80F1608-0A47-4B91-B384-46AD99336009}" srcOrd="2" destOrd="0" parTransId="{9F026DBC-B42F-47A0-9E26-217335FBDFC8}" sibTransId="{ED0B43FD-E371-4821-984D-C89F17EC9291}"/>
    <dgm:cxn modelId="{C8C55EAE-2D1B-43BF-A62C-94BBC35E80CA}" type="presOf" srcId="{30654229-0FB7-4DA4-9263-17A8069A5936}" destId="{E308C009-0A0C-45E4-9BC5-BB8FD1BA5035}" srcOrd="0" destOrd="3" presId="urn:microsoft.com/office/officeart/2005/8/layout/default"/>
    <dgm:cxn modelId="{A0CE78B4-8C6B-44A6-A97B-C425ACB2AC6D}" type="presOf" srcId="{8245BE5F-CD5F-420E-BF34-3488D097C055}" destId="{828AD615-1E35-4BBA-A7B6-DC48F912525D}" srcOrd="0" destOrd="0" presId="urn:microsoft.com/office/officeart/2005/8/layout/default"/>
    <dgm:cxn modelId="{98AB7BB8-C50B-4564-AC6E-246F0849C3E7}" type="presOf" srcId="{D74D6125-FBF4-462C-BB56-8DCDB12F2EFF}" destId="{8E02ECBF-E533-4E50-9D95-2D4CBB1F20AA}" srcOrd="0" destOrd="0" presId="urn:microsoft.com/office/officeart/2005/8/layout/default"/>
    <dgm:cxn modelId="{7BFB56B9-19A7-4A69-91D1-78E9434BFEE1}" type="presOf" srcId="{8BD53D03-4753-4DC6-9020-079A0D83A285}" destId="{FAB90A23-2037-4424-8075-F13359BDDF9B}" srcOrd="0" destOrd="2" presId="urn:microsoft.com/office/officeart/2005/8/layout/default"/>
    <dgm:cxn modelId="{E8D6E2CD-1237-4C1D-9181-5234F45BCC53}" srcId="{8245BE5F-CD5F-420E-BF34-3488D097C055}" destId="{E9EE8C88-6776-4157-A7F9-03DD0BF5D786}" srcOrd="1" destOrd="0" parTransId="{56F210FE-F9C4-4486-9DE2-5D7747887EB3}" sibTransId="{59BEC522-4750-4E42-877C-7C412798E00D}"/>
    <dgm:cxn modelId="{CCAA9EE6-CC88-47F7-878A-1468046D7380}" srcId="{EFBCC96D-CE98-45C9-BF37-C44604F813BA}" destId="{FECBDDC0-F312-4141-B04C-5E8CD8068C73}" srcOrd="1" destOrd="0" parTransId="{94436471-3F06-4B04-8C1C-0B712BEF3CFB}" sibTransId="{81D1AC35-ED83-4091-A10E-FE0982F27527}"/>
    <dgm:cxn modelId="{0C9A0FE7-7B67-42E4-B4E1-C5B1B633CAB6}" type="presOf" srcId="{E9EE8C88-6776-4157-A7F9-03DD0BF5D786}" destId="{828AD615-1E35-4BBA-A7B6-DC48F912525D}" srcOrd="0" destOrd="2" presId="urn:microsoft.com/office/officeart/2005/8/layout/default"/>
    <dgm:cxn modelId="{315C28E9-CDFD-44AB-B661-8A66D74B1B59}" type="presOf" srcId="{D80F1608-0A47-4B91-B384-46AD99336009}" destId="{828AD615-1E35-4BBA-A7B6-DC48F912525D}" srcOrd="0" destOrd="3" presId="urn:microsoft.com/office/officeart/2005/8/layout/default"/>
    <dgm:cxn modelId="{BC3A3FEA-B72C-47A8-8DC2-AD0B0C68E67F}" srcId="{1677FD69-49D3-479C-BE40-37F578078710}" destId="{32939284-1D15-4A17-971E-77B760791AA7}" srcOrd="0" destOrd="0" parTransId="{580C9384-C763-48DC-BF28-3241EE05608A}" sibTransId="{2BB0CABA-C10D-403A-958D-E811BDB49CF4}"/>
    <dgm:cxn modelId="{111BD0FC-9472-4668-92B5-41EEE4A43FFA}" type="presOf" srcId="{1677FD69-49D3-479C-BE40-37F578078710}" destId="{FAB90A23-2037-4424-8075-F13359BDDF9B}" srcOrd="0" destOrd="0" presId="urn:microsoft.com/office/officeart/2005/8/layout/default"/>
    <dgm:cxn modelId="{3D571D70-3DAE-4733-A2B3-23C620BF7ACC}" type="presParOf" srcId="{8E02ECBF-E533-4E50-9D95-2D4CBB1F20AA}" destId="{FAB90A23-2037-4424-8075-F13359BDDF9B}" srcOrd="0" destOrd="0" presId="urn:microsoft.com/office/officeart/2005/8/layout/default"/>
    <dgm:cxn modelId="{AD439E94-CDA8-4C49-9F34-3234B65F1A93}" type="presParOf" srcId="{8E02ECBF-E533-4E50-9D95-2D4CBB1F20AA}" destId="{46EEDD98-D595-4716-B8C8-24A01BEED31F}" srcOrd="1" destOrd="0" presId="urn:microsoft.com/office/officeart/2005/8/layout/default"/>
    <dgm:cxn modelId="{94D9B463-862C-4EC4-8F88-B56355583B34}" type="presParOf" srcId="{8E02ECBF-E533-4E50-9D95-2D4CBB1F20AA}" destId="{E308C009-0A0C-45E4-9BC5-BB8FD1BA5035}" srcOrd="2" destOrd="0" presId="urn:microsoft.com/office/officeart/2005/8/layout/default"/>
    <dgm:cxn modelId="{9A21D437-9AEE-431A-8352-58EEC35A8CC3}" type="presParOf" srcId="{8E02ECBF-E533-4E50-9D95-2D4CBB1F20AA}" destId="{62184846-83F3-4076-A666-10C7A13901DA}" srcOrd="3" destOrd="0" presId="urn:microsoft.com/office/officeart/2005/8/layout/default"/>
    <dgm:cxn modelId="{8448561C-ACE9-4ABC-B130-EB374FC6A72C}" type="presParOf" srcId="{8E02ECBF-E533-4E50-9D95-2D4CBB1F20AA}" destId="{828AD615-1E35-4BBA-A7B6-DC48F912525D}" srcOrd="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74D6125-FBF4-462C-BB56-8DCDB12F2EFF}" type="doc">
      <dgm:prSet loTypeId="urn:microsoft.com/office/officeart/2005/8/layout/default" loCatId="list" qsTypeId="urn:microsoft.com/office/officeart/2005/8/quickstyle/simple1" qsCatId="simple" csTypeId="urn:microsoft.com/office/officeart/2005/8/colors/accent2_1" csCatId="accent2" phldr="1"/>
      <dgm:spPr/>
      <dgm:t>
        <a:bodyPr/>
        <a:lstStyle/>
        <a:p>
          <a:endParaRPr lang="en-US"/>
        </a:p>
      </dgm:t>
    </dgm:pt>
    <dgm:pt modelId="{A70D6569-B5C9-4B5E-9ECB-B0F58F8A0787}">
      <dgm:prSet phldrT="[Text]"/>
      <dgm:spPr/>
      <dgm:t>
        <a:bodyPr/>
        <a:lstStyle/>
        <a:p>
          <a:r>
            <a:rPr lang="en-US" b="1" dirty="0"/>
            <a:t>Hepatobiliary Complications</a:t>
          </a:r>
        </a:p>
      </dgm:t>
    </dgm:pt>
    <dgm:pt modelId="{6DDE5B2A-BAF8-4C34-AB65-FC5382C40820}" type="parTrans" cxnId="{9624ACD0-58B0-4CB2-A9C6-CD70FB6422D1}">
      <dgm:prSet/>
      <dgm:spPr/>
      <dgm:t>
        <a:bodyPr/>
        <a:lstStyle/>
        <a:p>
          <a:endParaRPr lang="en-US"/>
        </a:p>
      </dgm:t>
    </dgm:pt>
    <dgm:pt modelId="{A3C6D993-9176-4337-AAE9-C0D51D6E8984}" type="sibTrans" cxnId="{9624ACD0-58B0-4CB2-A9C6-CD70FB6422D1}">
      <dgm:prSet/>
      <dgm:spPr/>
      <dgm:t>
        <a:bodyPr/>
        <a:lstStyle/>
        <a:p>
          <a:endParaRPr lang="en-US"/>
        </a:p>
      </dgm:t>
    </dgm:pt>
    <dgm:pt modelId="{627AF0FB-6EA9-43EC-A83C-22164EB164AE}">
      <dgm:prSet phldrT="[Text]"/>
      <dgm:spPr/>
      <dgm:t>
        <a:bodyPr/>
        <a:lstStyle/>
        <a:p>
          <a:r>
            <a:rPr lang="en-US" b="1" dirty="0"/>
            <a:t>Acute Chest Syndrome</a:t>
          </a:r>
        </a:p>
      </dgm:t>
    </dgm:pt>
    <dgm:pt modelId="{644EACA5-8F0D-4ACB-9571-03C9A39052A2}" type="parTrans" cxnId="{3F3D00F6-7409-47BA-B429-394002B89A85}">
      <dgm:prSet/>
      <dgm:spPr/>
      <dgm:t>
        <a:bodyPr/>
        <a:lstStyle/>
        <a:p>
          <a:endParaRPr lang="en-US"/>
        </a:p>
      </dgm:t>
    </dgm:pt>
    <dgm:pt modelId="{0E9E258C-323C-4273-A29C-A701DCE9DA69}" type="sibTrans" cxnId="{3F3D00F6-7409-47BA-B429-394002B89A85}">
      <dgm:prSet/>
      <dgm:spPr/>
      <dgm:t>
        <a:bodyPr/>
        <a:lstStyle/>
        <a:p>
          <a:endParaRPr lang="en-US"/>
        </a:p>
      </dgm:t>
    </dgm:pt>
    <dgm:pt modelId="{10BA63EB-8583-4F7E-9602-306CA6586815}">
      <dgm:prSet phldrT="[Text]"/>
      <dgm:spPr/>
      <dgm:t>
        <a:bodyPr/>
        <a:lstStyle/>
        <a:p>
          <a:r>
            <a:rPr lang="en-US" dirty="0"/>
            <a:t>Referral to hematologist for consideration of surgery </a:t>
          </a:r>
        </a:p>
      </dgm:t>
    </dgm:pt>
    <dgm:pt modelId="{7C38ED50-43F1-495D-9B02-C5CE2F4B44AD}" type="parTrans" cxnId="{004CE857-103B-45E1-BFB2-F644BF100BFC}">
      <dgm:prSet/>
      <dgm:spPr/>
      <dgm:t>
        <a:bodyPr/>
        <a:lstStyle/>
        <a:p>
          <a:endParaRPr lang="en-IN"/>
        </a:p>
      </dgm:t>
    </dgm:pt>
    <dgm:pt modelId="{802A8022-DF69-4867-8331-77A414E8643A}" type="sibTrans" cxnId="{004CE857-103B-45E1-BFB2-F644BF100BFC}">
      <dgm:prSet/>
      <dgm:spPr/>
      <dgm:t>
        <a:bodyPr/>
        <a:lstStyle/>
        <a:p>
          <a:endParaRPr lang="en-IN"/>
        </a:p>
      </dgm:t>
    </dgm:pt>
    <dgm:pt modelId="{40AC1099-24B2-42EF-8097-9524419F2140}">
      <dgm:prSet/>
      <dgm:spPr/>
      <dgm:t>
        <a:bodyPr/>
        <a:lstStyle/>
        <a:p>
          <a:r>
            <a:rPr lang="en-US" dirty="0"/>
            <a:t>Surgical consult</a:t>
          </a:r>
        </a:p>
      </dgm:t>
    </dgm:pt>
    <dgm:pt modelId="{D2AA43A3-C095-4052-B2AE-8430E1795298}" type="parTrans" cxnId="{B9B77937-3B00-482A-9543-3950689D52F7}">
      <dgm:prSet/>
      <dgm:spPr/>
      <dgm:t>
        <a:bodyPr/>
        <a:lstStyle/>
        <a:p>
          <a:endParaRPr lang="en-IN"/>
        </a:p>
      </dgm:t>
    </dgm:pt>
    <dgm:pt modelId="{5AAA5CC8-1F9B-499D-A616-72E7F1396EF1}" type="sibTrans" cxnId="{B9B77937-3B00-482A-9543-3950689D52F7}">
      <dgm:prSet/>
      <dgm:spPr/>
      <dgm:t>
        <a:bodyPr/>
        <a:lstStyle/>
        <a:p>
          <a:endParaRPr lang="en-IN"/>
        </a:p>
      </dgm:t>
    </dgm:pt>
    <dgm:pt modelId="{5AED776B-58F7-4669-9987-AB314CB07809}">
      <dgm:prSet/>
      <dgm:spPr/>
      <dgm:t>
        <a:bodyPr/>
        <a:lstStyle/>
        <a:p>
          <a:r>
            <a:rPr lang="en-US" dirty="0"/>
            <a:t>Transfusion prior to surgery to prevent acute chest syndrome</a:t>
          </a:r>
        </a:p>
      </dgm:t>
    </dgm:pt>
    <dgm:pt modelId="{E9B4B28D-B6F6-476E-805F-A79390F8A2EE}" type="parTrans" cxnId="{50EE1AB7-B858-4D97-A1A8-C45C830EBCE5}">
      <dgm:prSet/>
      <dgm:spPr/>
      <dgm:t>
        <a:bodyPr/>
        <a:lstStyle/>
        <a:p>
          <a:endParaRPr lang="en-IN"/>
        </a:p>
      </dgm:t>
    </dgm:pt>
    <dgm:pt modelId="{02E8D133-D8F3-4CFC-BA69-8A56EF66274C}" type="sibTrans" cxnId="{50EE1AB7-B858-4D97-A1A8-C45C830EBCE5}">
      <dgm:prSet/>
      <dgm:spPr/>
      <dgm:t>
        <a:bodyPr/>
        <a:lstStyle/>
        <a:p>
          <a:endParaRPr lang="en-IN"/>
        </a:p>
      </dgm:t>
    </dgm:pt>
    <dgm:pt modelId="{A81680A7-DEB7-485B-84B9-6AE399483B9B}">
      <dgm:prSet phldrT="[Text]"/>
      <dgm:spPr/>
      <dgm:t>
        <a:bodyPr/>
        <a:lstStyle/>
        <a:p>
          <a:r>
            <a:rPr lang="en-US" dirty="0"/>
            <a:t>Antibiotics</a:t>
          </a:r>
        </a:p>
      </dgm:t>
    </dgm:pt>
    <dgm:pt modelId="{24BB8758-8F4D-4CA5-8127-5D3152B29023}" type="parTrans" cxnId="{61EC8D22-9635-4170-9538-016F5C267692}">
      <dgm:prSet/>
      <dgm:spPr/>
      <dgm:t>
        <a:bodyPr/>
        <a:lstStyle/>
        <a:p>
          <a:endParaRPr lang="en-IN"/>
        </a:p>
      </dgm:t>
    </dgm:pt>
    <dgm:pt modelId="{8C055283-C2F7-4206-A928-6D68479AD10B}" type="sibTrans" cxnId="{61EC8D22-9635-4170-9538-016F5C267692}">
      <dgm:prSet/>
      <dgm:spPr/>
      <dgm:t>
        <a:bodyPr/>
        <a:lstStyle/>
        <a:p>
          <a:endParaRPr lang="en-IN"/>
        </a:p>
      </dgm:t>
    </dgm:pt>
    <dgm:pt modelId="{DD2619C8-0A93-4B00-B9FD-DF33448B4A62}">
      <dgm:prSet/>
      <dgm:spPr/>
      <dgm:t>
        <a:bodyPr/>
        <a:lstStyle/>
        <a:p>
          <a:r>
            <a:rPr lang="en-US" dirty="0"/>
            <a:t>O</a:t>
          </a:r>
          <a:r>
            <a:rPr lang="en-US" baseline="-25000" dirty="0"/>
            <a:t>2</a:t>
          </a:r>
          <a:r>
            <a:rPr lang="en-US" baseline="0" dirty="0"/>
            <a:t> if pO</a:t>
          </a:r>
          <a:r>
            <a:rPr lang="en-US" baseline="-25000" dirty="0"/>
            <a:t>2</a:t>
          </a:r>
          <a:r>
            <a:rPr lang="en-US" baseline="0" dirty="0"/>
            <a:t> &lt;94%</a:t>
          </a:r>
        </a:p>
      </dgm:t>
    </dgm:pt>
    <dgm:pt modelId="{C3C54848-3F84-4C54-A85E-6F779D892D1B}" type="parTrans" cxnId="{CCA45D4B-65B0-4A3B-B4AB-005AEB87DA17}">
      <dgm:prSet/>
      <dgm:spPr/>
      <dgm:t>
        <a:bodyPr/>
        <a:lstStyle/>
        <a:p>
          <a:endParaRPr lang="en-IN"/>
        </a:p>
      </dgm:t>
    </dgm:pt>
    <dgm:pt modelId="{379E9AFD-BB85-43BC-AEBE-F55A373F8F17}" type="sibTrans" cxnId="{CCA45D4B-65B0-4A3B-B4AB-005AEB87DA17}">
      <dgm:prSet/>
      <dgm:spPr/>
      <dgm:t>
        <a:bodyPr/>
        <a:lstStyle/>
        <a:p>
          <a:endParaRPr lang="en-IN"/>
        </a:p>
      </dgm:t>
    </dgm:pt>
    <dgm:pt modelId="{4BA8E078-906A-4253-8305-BBD4CD49E69D}">
      <dgm:prSet/>
      <dgm:spPr/>
      <dgm:t>
        <a:bodyPr/>
        <a:lstStyle/>
        <a:p>
          <a:r>
            <a:rPr lang="en-US" baseline="0" dirty="0"/>
            <a:t>Incentive spirometry</a:t>
          </a:r>
        </a:p>
      </dgm:t>
    </dgm:pt>
    <dgm:pt modelId="{86171DD2-7C7E-45FF-A0DD-D333A305DB2F}" type="parTrans" cxnId="{414D588E-F5A8-48E2-8B9F-EC8D44C9527F}">
      <dgm:prSet/>
      <dgm:spPr/>
      <dgm:t>
        <a:bodyPr/>
        <a:lstStyle/>
        <a:p>
          <a:endParaRPr lang="en-IN"/>
        </a:p>
      </dgm:t>
    </dgm:pt>
    <dgm:pt modelId="{96057CC6-39DB-4C73-8D83-FA1DB9342C9C}" type="sibTrans" cxnId="{414D588E-F5A8-48E2-8B9F-EC8D44C9527F}">
      <dgm:prSet/>
      <dgm:spPr/>
      <dgm:t>
        <a:bodyPr/>
        <a:lstStyle/>
        <a:p>
          <a:endParaRPr lang="en-IN"/>
        </a:p>
      </dgm:t>
    </dgm:pt>
    <dgm:pt modelId="{C29241CC-AE9B-49BD-9DC3-CDFCA02521E1}">
      <dgm:prSet/>
      <dgm:spPr/>
      <dgm:t>
        <a:bodyPr/>
        <a:lstStyle/>
        <a:p>
          <a:r>
            <a:rPr lang="en-US" baseline="0" dirty="0"/>
            <a:t>Simple transfusion  for mild symptoms, RBC exchange for severe symptoms</a:t>
          </a:r>
        </a:p>
      </dgm:t>
    </dgm:pt>
    <dgm:pt modelId="{76896EF2-2C2D-4D73-9777-6295E6E2682E}" type="parTrans" cxnId="{3E3C1CA9-9F2C-4B39-915C-C0FC67A1D88D}">
      <dgm:prSet/>
      <dgm:spPr/>
      <dgm:t>
        <a:bodyPr/>
        <a:lstStyle/>
        <a:p>
          <a:endParaRPr lang="en-IN"/>
        </a:p>
      </dgm:t>
    </dgm:pt>
    <dgm:pt modelId="{F66F28B1-6523-4EA9-BB03-BC11477CB34E}" type="sibTrans" cxnId="{3E3C1CA9-9F2C-4B39-915C-C0FC67A1D88D}">
      <dgm:prSet/>
      <dgm:spPr/>
      <dgm:t>
        <a:bodyPr/>
        <a:lstStyle/>
        <a:p>
          <a:endParaRPr lang="en-IN"/>
        </a:p>
      </dgm:t>
    </dgm:pt>
    <dgm:pt modelId="{3AFF9201-0C93-457D-94B2-A96C12BADCD8}">
      <dgm:prSet phldrT="[Text]" custT="1"/>
      <dgm:spPr/>
      <dgm:t>
        <a:bodyPr/>
        <a:lstStyle/>
        <a:p>
          <a:pPr algn="l"/>
          <a:r>
            <a:rPr lang="en-US" sz="2100" b="1" dirty="0"/>
            <a:t>Acute Sequestration crisis</a:t>
          </a:r>
        </a:p>
        <a:p>
          <a:pPr algn="l"/>
          <a:r>
            <a:rPr lang="en-US" sz="1600" baseline="0" dirty="0"/>
            <a:t> Oxygen treatment </a:t>
          </a:r>
          <a:endParaRPr lang="en-US" sz="1600" b="1" dirty="0"/>
        </a:p>
      </dgm:t>
    </dgm:pt>
    <dgm:pt modelId="{61BB9857-3B39-4309-B9D6-977469B9B515}" type="sibTrans" cxnId="{C228F8B9-E35C-4D9B-AC6C-B30970532605}">
      <dgm:prSet/>
      <dgm:spPr/>
      <dgm:t>
        <a:bodyPr/>
        <a:lstStyle/>
        <a:p>
          <a:endParaRPr lang="en-US"/>
        </a:p>
      </dgm:t>
    </dgm:pt>
    <dgm:pt modelId="{E0CCCE54-623A-40A5-A8F5-10CBB72160BC}" type="parTrans" cxnId="{C228F8B9-E35C-4D9B-AC6C-B30970532605}">
      <dgm:prSet/>
      <dgm:spPr/>
      <dgm:t>
        <a:bodyPr/>
        <a:lstStyle/>
        <a:p>
          <a:endParaRPr lang="en-US"/>
        </a:p>
      </dgm:t>
    </dgm:pt>
    <dgm:pt modelId="{38C6E727-7088-437A-9023-ED164CA0FCE4}">
      <dgm:prSet/>
      <dgm:spPr/>
      <dgm:t>
        <a:bodyPr/>
        <a:lstStyle/>
        <a:p>
          <a:pPr algn="l"/>
          <a:r>
            <a:rPr lang="en-US" sz="1600" dirty="0"/>
            <a:t>Arrange for blood transfusion </a:t>
          </a:r>
        </a:p>
      </dgm:t>
    </dgm:pt>
    <dgm:pt modelId="{B586C8EA-A024-42B9-B9C4-9148868A3896}" type="parTrans" cxnId="{4A7B0DC2-D009-4B08-8219-F991476B36FA}">
      <dgm:prSet/>
      <dgm:spPr/>
      <dgm:t>
        <a:bodyPr/>
        <a:lstStyle/>
        <a:p>
          <a:endParaRPr lang="en-GB"/>
        </a:p>
      </dgm:t>
    </dgm:pt>
    <dgm:pt modelId="{93EB2492-4CB2-461D-85E2-ED4E9C020F19}" type="sibTrans" cxnId="{4A7B0DC2-D009-4B08-8219-F991476B36FA}">
      <dgm:prSet/>
      <dgm:spPr/>
      <dgm:t>
        <a:bodyPr/>
        <a:lstStyle/>
        <a:p>
          <a:endParaRPr lang="en-GB"/>
        </a:p>
      </dgm:t>
    </dgm:pt>
    <dgm:pt modelId="{BF777E8F-734C-48D5-A975-5A328CCB6AD9}">
      <dgm:prSet/>
      <dgm:spPr/>
      <dgm:t>
        <a:bodyPr/>
        <a:lstStyle/>
        <a:p>
          <a:pPr algn="l"/>
          <a:endParaRPr lang="en-US" sz="1600" dirty="0"/>
        </a:p>
      </dgm:t>
    </dgm:pt>
    <dgm:pt modelId="{7B764663-D944-4690-A98E-1CD3EE67C7E6}" type="parTrans" cxnId="{49DFC96D-A03F-464D-9EB3-BCBDC704C4DC}">
      <dgm:prSet/>
      <dgm:spPr/>
      <dgm:t>
        <a:bodyPr/>
        <a:lstStyle/>
        <a:p>
          <a:endParaRPr lang="en-GB"/>
        </a:p>
      </dgm:t>
    </dgm:pt>
    <dgm:pt modelId="{DBF9A2B2-030D-4F35-B538-F2352E960EB5}" type="sibTrans" cxnId="{49DFC96D-A03F-464D-9EB3-BCBDC704C4DC}">
      <dgm:prSet/>
      <dgm:spPr/>
      <dgm:t>
        <a:bodyPr/>
        <a:lstStyle/>
        <a:p>
          <a:endParaRPr lang="en-GB"/>
        </a:p>
      </dgm:t>
    </dgm:pt>
    <dgm:pt modelId="{BB7B63E1-150F-46C1-B11F-A8DDB4D57FB8}">
      <dgm:prSet/>
      <dgm:spPr/>
      <dgm:t>
        <a:bodyPr/>
        <a:lstStyle/>
        <a:p>
          <a:pPr algn="l"/>
          <a:r>
            <a:rPr lang="en-US" sz="1600" baseline="0" dirty="0"/>
            <a:t>ICU admission</a:t>
          </a:r>
          <a:endParaRPr lang="en-US" sz="1600" dirty="0"/>
        </a:p>
      </dgm:t>
    </dgm:pt>
    <dgm:pt modelId="{8EC38FB7-03EE-4359-AB5C-2EA68FCBFF15}" type="sibTrans" cxnId="{6836E032-B22A-459E-B18C-5A52EDF95846}">
      <dgm:prSet/>
      <dgm:spPr/>
      <dgm:t>
        <a:bodyPr/>
        <a:lstStyle/>
        <a:p>
          <a:endParaRPr lang="en-IN"/>
        </a:p>
      </dgm:t>
    </dgm:pt>
    <dgm:pt modelId="{4DA8010D-A19D-4A41-B1FE-89134A8B2C0D}" type="parTrans" cxnId="{6836E032-B22A-459E-B18C-5A52EDF95846}">
      <dgm:prSet/>
      <dgm:spPr/>
      <dgm:t>
        <a:bodyPr/>
        <a:lstStyle/>
        <a:p>
          <a:endParaRPr lang="en-IN"/>
        </a:p>
      </dgm:t>
    </dgm:pt>
    <dgm:pt modelId="{8E02ECBF-E533-4E50-9D95-2D4CBB1F20AA}" type="pres">
      <dgm:prSet presAssocID="{D74D6125-FBF4-462C-BB56-8DCDB12F2EFF}" presName="diagram" presStyleCnt="0">
        <dgm:presLayoutVars>
          <dgm:dir/>
          <dgm:resizeHandles val="exact"/>
        </dgm:presLayoutVars>
      </dgm:prSet>
      <dgm:spPr/>
    </dgm:pt>
    <dgm:pt modelId="{F9E24C4A-2DE0-4F63-8688-AD99BE4B5A5C}" type="pres">
      <dgm:prSet presAssocID="{A70D6569-B5C9-4B5E-9ECB-B0F58F8A0787}" presName="node" presStyleLbl="node1" presStyleIdx="0" presStyleCnt="3">
        <dgm:presLayoutVars>
          <dgm:bulletEnabled val="1"/>
        </dgm:presLayoutVars>
      </dgm:prSet>
      <dgm:spPr/>
    </dgm:pt>
    <dgm:pt modelId="{55C0B1CA-311D-4F78-8F63-89E23C919859}" type="pres">
      <dgm:prSet presAssocID="{A3C6D993-9176-4337-AAE9-C0D51D6E8984}" presName="sibTrans" presStyleCnt="0"/>
      <dgm:spPr/>
    </dgm:pt>
    <dgm:pt modelId="{09FBC752-F9C5-47CF-B8DE-C5772DAF5C4D}" type="pres">
      <dgm:prSet presAssocID="{627AF0FB-6EA9-43EC-A83C-22164EB164AE}" presName="node" presStyleLbl="node1" presStyleIdx="1" presStyleCnt="3">
        <dgm:presLayoutVars>
          <dgm:bulletEnabled val="1"/>
        </dgm:presLayoutVars>
      </dgm:prSet>
      <dgm:spPr/>
    </dgm:pt>
    <dgm:pt modelId="{7BF9457B-6D4B-4255-BE67-B895FDAF6ED0}" type="pres">
      <dgm:prSet presAssocID="{0E9E258C-323C-4273-A29C-A701DCE9DA69}" presName="sibTrans" presStyleCnt="0"/>
      <dgm:spPr/>
    </dgm:pt>
    <dgm:pt modelId="{1A855177-76FC-4A72-B959-2AE17B516304}" type="pres">
      <dgm:prSet presAssocID="{3AFF9201-0C93-457D-94B2-A96C12BADCD8}" presName="node" presStyleLbl="node1" presStyleIdx="2" presStyleCnt="3">
        <dgm:presLayoutVars>
          <dgm:bulletEnabled val="1"/>
        </dgm:presLayoutVars>
      </dgm:prSet>
      <dgm:spPr/>
    </dgm:pt>
  </dgm:ptLst>
  <dgm:cxnLst>
    <dgm:cxn modelId="{3189DE06-F152-4A59-A77B-04C4E23B41A2}" type="presOf" srcId="{627AF0FB-6EA9-43EC-A83C-22164EB164AE}" destId="{09FBC752-F9C5-47CF-B8DE-C5772DAF5C4D}" srcOrd="0" destOrd="0" presId="urn:microsoft.com/office/officeart/2005/8/layout/default"/>
    <dgm:cxn modelId="{D4F5B416-CC1D-4CE1-B55A-D62B86C2CBB3}" type="presOf" srcId="{DD2619C8-0A93-4B00-B9FD-DF33448B4A62}" destId="{09FBC752-F9C5-47CF-B8DE-C5772DAF5C4D}" srcOrd="0" destOrd="2" presId="urn:microsoft.com/office/officeart/2005/8/layout/default"/>
    <dgm:cxn modelId="{CCA70F19-97BE-46D6-9D2E-483B42A53743}" type="presOf" srcId="{3AFF9201-0C93-457D-94B2-A96C12BADCD8}" destId="{1A855177-76FC-4A72-B959-2AE17B516304}" srcOrd="0" destOrd="0" presId="urn:microsoft.com/office/officeart/2005/8/layout/default"/>
    <dgm:cxn modelId="{61EC8D22-9635-4170-9538-016F5C267692}" srcId="{627AF0FB-6EA9-43EC-A83C-22164EB164AE}" destId="{A81680A7-DEB7-485B-84B9-6AE399483B9B}" srcOrd="0" destOrd="0" parTransId="{24BB8758-8F4D-4CA5-8127-5D3152B29023}" sibTransId="{8C055283-C2F7-4206-A928-6D68479AD10B}"/>
    <dgm:cxn modelId="{56870829-2B23-4679-A8B0-5DC3A13BAB07}" type="presOf" srcId="{10BA63EB-8583-4F7E-9602-306CA6586815}" destId="{F9E24C4A-2DE0-4F63-8688-AD99BE4B5A5C}" srcOrd="0" destOrd="1" presId="urn:microsoft.com/office/officeart/2005/8/layout/default"/>
    <dgm:cxn modelId="{6836E032-B22A-459E-B18C-5A52EDF95846}" srcId="{3AFF9201-0C93-457D-94B2-A96C12BADCD8}" destId="{BB7B63E1-150F-46C1-B11F-A8DDB4D57FB8}" srcOrd="0" destOrd="0" parTransId="{4DA8010D-A19D-4A41-B1FE-89134A8B2C0D}" sibTransId="{8EC38FB7-03EE-4359-AB5C-2EA68FCBFF15}"/>
    <dgm:cxn modelId="{B9B77937-3B00-482A-9543-3950689D52F7}" srcId="{A70D6569-B5C9-4B5E-9ECB-B0F58F8A0787}" destId="{40AC1099-24B2-42EF-8097-9524419F2140}" srcOrd="1" destOrd="0" parTransId="{D2AA43A3-C095-4052-B2AE-8430E1795298}" sibTransId="{5AAA5CC8-1F9B-499D-A616-72E7F1396EF1}"/>
    <dgm:cxn modelId="{B9F0F85D-18D8-4A90-82C9-76A889CACCDA}" type="presOf" srcId="{4BA8E078-906A-4253-8305-BBD4CD49E69D}" destId="{09FBC752-F9C5-47CF-B8DE-C5772DAF5C4D}" srcOrd="0" destOrd="3" presId="urn:microsoft.com/office/officeart/2005/8/layout/default"/>
    <dgm:cxn modelId="{309C6968-1471-4DDF-ACBB-D0AB1A8E9530}" type="presOf" srcId="{5AED776B-58F7-4669-9987-AB314CB07809}" destId="{F9E24C4A-2DE0-4F63-8688-AD99BE4B5A5C}" srcOrd="0" destOrd="3" presId="urn:microsoft.com/office/officeart/2005/8/layout/default"/>
    <dgm:cxn modelId="{CCA45D4B-65B0-4A3B-B4AB-005AEB87DA17}" srcId="{627AF0FB-6EA9-43EC-A83C-22164EB164AE}" destId="{DD2619C8-0A93-4B00-B9FD-DF33448B4A62}" srcOrd="1" destOrd="0" parTransId="{C3C54848-3F84-4C54-A85E-6F779D892D1B}" sibTransId="{379E9AFD-BB85-43BC-AEBE-F55A373F8F17}"/>
    <dgm:cxn modelId="{84C4D46C-DD6D-498E-A35A-2F1E6A43953E}" type="presOf" srcId="{BB7B63E1-150F-46C1-B11F-A8DDB4D57FB8}" destId="{1A855177-76FC-4A72-B959-2AE17B516304}" srcOrd="0" destOrd="1" presId="urn:microsoft.com/office/officeart/2005/8/layout/default"/>
    <dgm:cxn modelId="{25C2F86C-D61A-4CF5-8FED-3933AA3E8040}" type="presOf" srcId="{A81680A7-DEB7-485B-84B9-6AE399483B9B}" destId="{09FBC752-F9C5-47CF-B8DE-C5772DAF5C4D}" srcOrd="0" destOrd="1" presId="urn:microsoft.com/office/officeart/2005/8/layout/default"/>
    <dgm:cxn modelId="{49DFC96D-A03F-464D-9EB3-BCBDC704C4DC}" srcId="{3AFF9201-0C93-457D-94B2-A96C12BADCD8}" destId="{BF777E8F-734C-48D5-A975-5A328CCB6AD9}" srcOrd="2" destOrd="0" parTransId="{7B764663-D944-4690-A98E-1CD3EE67C7E6}" sibTransId="{DBF9A2B2-030D-4F35-B538-F2352E960EB5}"/>
    <dgm:cxn modelId="{004CE857-103B-45E1-BFB2-F644BF100BFC}" srcId="{A70D6569-B5C9-4B5E-9ECB-B0F58F8A0787}" destId="{10BA63EB-8583-4F7E-9602-306CA6586815}" srcOrd="0" destOrd="0" parTransId="{7C38ED50-43F1-495D-9B02-C5CE2F4B44AD}" sibTransId="{802A8022-DF69-4867-8331-77A414E8643A}"/>
    <dgm:cxn modelId="{414D588E-F5A8-48E2-8B9F-EC8D44C9527F}" srcId="{627AF0FB-6EA9-43EC-A83C-22164EB164AE}" destId="{4BA8E078-906A-4253-8305-BBD4CD49E69D}" srcOrd="2" destOrd="0" parTransId="{86171DD2-7C7E-45FF-A0DD-D333A305DB2F}" sibTransId="{96057CC6-39DB-4C73-8D83-FA1DB9342C9C}"/>
    <dgm:cxn modelId="{FB77BCA8-AC41-42B6-9FF6-F214EEF80112}" type="presOf" srcId="{40AC1099-24B2-42EF-8097-9524419F2140}" destId="{F9E24C4A-2DE0-4F63-8688-AD99BE4B5A5C}" srcOrd="0" destOrd="2" presId="urn:microsoft.com/office/officeart/2005/8/layout/default"/>
    <dgm:cxn modelId="{3E3C1CA9-9F2C-4B39-915C-C0FC67A1D88D}" srcId="{627AF0FB-6EA9-43EC-A83C-22164EB164AE}" destId="{C29241CC-AE9B-49BD-9DC3-CDFCA02521E1}" srcOrd="3" destOrd="0" parTransId="{76896EF2-2C2D-4D73-9777-6295E6E2682E}" sibTransId="{F66F28B1-6523-4EA9-BB03-BC11477CB34E}"/>
    <dgm:cxn modelId="{4C3CB8AF-42E9-4C99-B456-CA673CE70DD9}" type="presOf" srcId="{38C6E727-7088-437A-9023-ED164CA0FCE4}" destId="{1A855177-76FC-4A72-B959-2AE17B516304}" srcOrd="0" destOrd="2" presId="urn:microsoft.com/office/officeart/2005/8/layout/default"/>
    <dgm:cxn modelId="{50EE1AB7-B858-4D97-A1A8-C45C830EBCE5}" srcId="{A70D6569-B5C9-4B5E-9ECB-B0F58F8A0787}" destId="{5AED776B-58F7-4669-9987-AB314CB07809}" srcOrd="2" destOrd="0" parTransId="{E9B4B28D-B6F6-476E-805F-A79390F8A2EE}" sibTransId="{02E8D133-D8F3-4CFC-BA69-8A56EF66274C}"/>
    <dgm:cxn modelId="{98AB7BB8-C50B-4564-AC6E-246F0849C3E7}" type="presOf" srcId="{D74D6125-FBF4-462C-BB56-8DCDB12F2EFF}" destId="{8E02ECBF-E533-4E50-9D95-2D4CBB1F20AA}" srcOrd="0" destOrd="0" presId="urn:microsoft.com/office/officeart/2005/8/layout/default"/>
    <dgm:cxn modelId="{C228F8B9-E35C-4D9B-AC6C-B30970532605}" srcId="{D74D6125-FBF4-462C-BB56-8DCDB12F2EFF}" destId="{3AFF9201-0C93-457D-94B2-A96C12BADCD8}" srcOrd="2" destOrd="0" parTransId="{E0CCCE54-623A-40A5-A8F5-10CBB72160BC}" sibTransId="{61BB9857-3B39-4309-B9D6-977469B9B515}"/>
    <dgm:cxn modelId="{C12CB5BC-4232-4F28-8AF5-E0F1E2BF0D2C}" type="presOf" srcId="{BF777E8F-734C-48D5-A975-5A328CCB6AD9}" destId="{1A855177-76FC-4A72-B959-2AE17B516304}" srcOrd="0" destOrd="3" presId="urn:microsoft.com/office/officeart/2005/8/layout/default"/>
    <dgm:cxn modelId="{4A7B0DC2-D009-4B08-8219-F991476B36FA}" srcId="{3AFF9201-0C93-457D-94B2-A96C12BADCD8}" destId="{38C6E727-7088-437A-9023-ED164CA0FCE4}" srcOrd="1" destOrd="0" parTransId="{B586C8EA-A024-42B9-B9C4-9148868A3896}" sibTransId="{93EB2492-4CB2-461D-85E2-ED4E9C020F19}"/>
    <dgm:cxn modelId="{9624ACD0-58B0-4CB2-A9C6-CD70FB6422D1}" srcId="{D74D6125-FBF4-462C-BB56-8DCDB12F2EFF}" destId="{A70D6569-B5C9-4B5E-9ECB-B0F58F8A0787}" srcOrd="0" destOrd="0" parTransId="{6DDE5B2A-BAF8-4C34-AB65-FC5382C40820}" sibTransId="{A3C6D993-9176-4337-AAE9-C0D51D6E8984}"/>
    <dgm:cxn modelId="{A3010FE2-8355-49FA-BBA2-61457CCD98E1}" type="presOf" srcId="{A70D6569-B5C9-4B5E-9ECB-B0F58F8A0787}" destId="{F9E24C4A-2DE0-4F63-8688-AD99BE4B5A5C}" srcOrd="0" destOrd="0" presId="urn:microsoft.com/office/officeart/2005/8/layout/default"/>
    <dgm:cxn modelId="{DFC635E4-2204-4851-B552-5F4D0DDF867E}" type="presOf" srcId="{C29241CC-AE9B-49BD-9DC3-CDFCA02521E1}" destId="{09FBC752-F9C5-47CF-B8DE-C5772DAF5C4D}" srcOrd="0" destOrd="4" presId="urn:microsoft.com/office/officeart/2005/8/layout/default"/>
    <dgm:cxn modelId="{3F3D00F6-7409-47BA-B429-394002B89A85}" srcId="{D74D6125-FBF4-462C-BB56-8DCDB12F2EFF}" destId="{627AF0FB-6EA9-43EC-A83C-22164EB164AE}" srcOrd="1" destOrd="0" parTransId="{644EACA5-8F0D-4ACB-9571-03C9A39052A2}" sibTransId="{0E9E258C-323C-4273-A29C-A701DCE9DA69}"/>
    <dgm:cxn modelId="{1C36744B-A5A5-439A-8D88-265FB95E2C06}" type="presParOf" srcId="{8E02ECBF-E533-4E50-9D95-2D4CBB1F20AA}" destId="{F9E24C4A-2DE0-4F63-8688-AD99BE4B5A5C}" srcOrd="0" destOrd="0" presId="urn:microsoft.com/office/officeart/2005/8/layout/default"/>
    <dgm:cxn modelId="{A4058843-4577-40FF-BEB5-649032864AA8}" type="presParOf" srcId="{8E02ECBF-E533-4E50-9D95-2D4CBB1F20AA}" destId="{55C0B1CA-311D-4F78-8F63-89E23C919859}" srcOrd="1" destOrd="0" presId="urn:microsoft.com/office/officeart/2005/8/layout/default"/>
    <dgm:cxn modelId="{0698D8C8-6858-412F-B084-A5D27D6650F0}" type="presParOf" srcId="{8E02ECBF-E533-4E50-9D95-2D4CBB1F20AA}" destId="{09FBC752-F9C5-47CF-B8DE-C5772DAF5C4D}" srcOrd="2" destOrd="0" presId="urn:microsoft.com/office/officeart/2005/8/layout/default"/>
    <dgm:cxn modelId="{75013BB9-B9C3-42C7-88CA-ED9001C47F99}" type="presParOf" srcId="{8E02ECBF-E533-4E50-9D95-2D4CBB1F20AA}" destId="{7BF9457B-6D4B-4255-BE67-B895FDAF6ED0}" srcOrd="3" destOrd="0" presId="urn:microsoft.com/office/officeart/2005/8/layout/default"/>
    <dgm:cxn modelId="{A1341817-BFF2-48F6-9AC2-450D5C1DB330}" type="presParOf" srcId="{8E02ECBF-E533-4E50-9D95-2D4CBB1F20AA}" destId="{1A855177-76FC-4A72-B959-2AE17B516304}" srcOrd="4"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5586DF8-6C1A-6242-ADBA-B1DF10E98D75}" type="doc">
      <dgm:prSet loTypeId="urn:microsoft.com/office/officeart/2005/8/layout/pyramid2" loCatId="hierarchy" qsTypeId="urn:microsoft.com/office/officeart/2005/8/quickstyle/simple1" qsCatId="simple" csTypeId="urn:microsoft.com/office/officeart/2005/8/colors/colorful4" csCatId="colorful" phldr="1"/>
      <dgm:spPr/>
      <dgm:t>
        <a:bodyPr/>
        <a:lstStyle/>
        <a:p>
          <a:endParaRPr lang="en-GB"/>
        </a:p>
      </dgm:t>
    </dgm:pt>
    <dgm:pt modelId="{1C3DF7C8-1CE3-D540-B554-4EB579A8DEF2}">
      <dgm:prSet phldrT="[Text]"/>
      <dgm:spPr/>
      <dgm:t>
        <a:bodyPr/>
        <a:lstStyle/>
        <a:p>
          <a:r>
            <a:rPr lang="en-GB" dirty="0"/>
            <a:t>PAIN</a:t>
          </a:r>
        </a:p>
      </dgm:t>
    </dgm:pt>
    <dgm:pt modelId="{FCEB3AF2-A9BA-6A4C-A7E9-AAF500090AE8}" type="parTrans" cxnId="{0EDB822A-8B4B-A44F-A240-8C3B41657D5C}">
      <dgm:prSet/>
      <dgm:spPr/>
      <dgm:t>
        <a:bodyPr/>
        <a:lstStyle/>
        <a:p>
          <a:endParaRPr lang="en-GB"/>
        </a:p>
      </dgm:t>
    </dgm:pt>
    <dgm:pt modelId="{1ADF9691-A6BE-F34A-AA80-F0FB3140E76B}" type="sibTrans" cxnId="{0EDB822A-8B4B-A44F-A240-8C3B41657D5C}">
      <dgm:prSet/>
      <dgm:spPr/>
      <dgm:t>
        <a:bodyPr/>
        <a:lstStyle/>
        <a:p>
          <a:endParaRPr lang="en-GB"/>
        </a:p>
      </dgm:t>
    </dgm:pt>
    <dgm:pt modelId="{CFA45D71-808D-3F44-BA44-1E353B357807}">
      <dgm:prSet phldrT="[Text]"/>
      <dgm:spPr/>
      <dgm:t>
        <a:bodyPr/>
        <a:lstStyle/>
        <a:p>
          <a:r>
            <a:rPr lang="en-GB" dirty="0"/>
            <a:t>Acute</a:t>
          </a:r>
        </a:p>
      </dgm:t>
    </dgm:pt>
    <dgm:pt modelId="{598FC5A6-7797-8E41-8A85-1427E7216A79}" type="parTrans" cxnId="{130CEC94-7694-3943-ACE4-D7A4A5911606}">
      <dgm:prSet/>
      <dgm:spPr/>
      <dgm:t>
        <a:bodyPr/>
        <a:lstStyle/>
        <a:p>
          <a:endParaRPr lang="en-GB"/>
        </a:p>
      </dgm:t>
    </dgm:pt>
    <dgm:pt modelId="{0AB2A7BF-979D-A74C-ADDC-427EBF873D81}" type="sibTrans" cxnId="{130CEC94-7694-3943-ACE4-D7A4A5911606}">
      <dgm:prSet/>
      <dgm:spPr/>
      <dgm:t>
        <a:bodyPr/>
        <a:lstStyle/>
        <a:p>
          <a:endParaRPr lang="en-GB"/>
        </a:p>
      </dgm:t>
    </dgm:pt>
    <dgm:pt modelId="{9AC69DD1-B59B-A94C-B39C-9F4C23736FF7}">
      <dgm:prSet phldrT="[Text]"/>
      <dgm:spPr/>
      <dgm:t>
        <a:bodyPr/>
        <a:lstStyle/>
        <a:p>
          <a:r>
            <a:rPr lang="en-GB" dirty="0"/>
            <a:t>Chronic</a:t>
          </a:r>
        </a:p>
      </dgm:t>
    </dgm:pt>
    <dgm:pt modelId="{03C438B6-60D0-2D4A-A6C1-9D1FC1045580}" type="parTrans" cxnId="{26A9F2A4-EC9E-814A-ACF7-AB2BF913F989}">
      <dgm:prSet/>
      <dgm:spPr/>
      <dgm:t>
        <a:bodyPr/>
        <a:lstStyle/>
        <a:p>
          <a:endParaRPr lang="en-GB"/>
        </a:p>
      </dgm:t>
    </dgm:pt>
    <dgm:pt modelId="{C61CDC28-CB29-714F-8070-BC2E4B5CA06E}" type="sibTrans" cxnId="{26A9F2A4-EC9E-814A-ACF7-AB2BF913F989}">
      <dgm:prSet/>
      <dgm:spPr/>
      <dgm:t>
        <a:bodyPr/>
        <a:lstStyle/>
        <a:p>
          <a:endParaRPr lang="en-GB"/>
        </a:p>
      </dgm:t>
    </dgm:pt>
    <dgm:pt modelId="{C2BC523C-317C-454D-A26F-2CE58E8B2E8E}">
      <dgm:prSet phldrT="[Text]"/>
      <dgm:spPr/>
      <dgm:t>
        <a:bodyPr/>
        <a:lstStyle/>
        <a:p>
          <a:r>
            <a:rPr lang="en-GB" dirty="0"/>
            <a:t>Neuropathic</a:t>
          </a:r>
        </a:p>
      </dgm:t>
    </dgm:pt>
    <dgm:pt modelId="{C04A49A2-8315-3C49-80F8-EAF40596749A}" type="parTrans" cxnId="{491ABA84-1790-4843-97F1-6D82DED37276}">
      <dgm:prSet/>
      <dgm:spPr/>
      <dgm:t>
        <a:bodyPr/>
        <a:lstStyle/>
        <a:p>
          <a:endParaRPr lang="en-GB"/>
        </a:p>
      </dgm:t>
    </dgm:pt>
    <dgm:pt modelId="{AACFD4B6-1102-8A43-A2FA-14BAC8BB85DD}" type="sibTrans" cxnId="{491ABA84-1790-4843-97F1-6D82DED37276}">
      <dgm:prSet/>
      <dgm:spPr/>
      <dgm:t>
        <a:bodyPr/>
        <a:lstStyle/>
        <a:p>
          <a:endParaRPr lang="en-GB"/>
        </a:p>
      </dgm:t>
    </dgm:pt>
    <dgm:pt modelId="{EE3AA85F-2CF6-F94F-A9BF-1815C50C3FC3}" type="pres">
      <dgm:prSet presAssocID="{55586DF8-6C1A-6242-ADBA-B1DF10E98D75}" presName="compositeShape" presStyleCnt="0">
        <dgm:presLayoutVars>
          <dgm:dir/>
          <dgm:resizeHandles/>
        </dgm:presLayoutVars>
      </dgm:prSet>
      <dgm:spPr/>
    </dgm:pt>
    <dgm:pt modelId="{9FFC6C20-8DB8-FA43-9996-320610B5366E}" type="pres">
      <dgm:prSet presAssocID="{55586DF8-6C1A-6242-ADBA-B1DF10E98D75}" presName="pyramid" presStyleLbl="node1" presStyleIdx="0" presStyleCnt="1"/>
      <dgm:spPr/>
    </dgm:pt>
    <dgm:pt modelId="{ADD259AB-B17B-934C-8547-8219E4E9CB27}" type="pres">
      <dgm:prSet presAssocID="{55586DF8-6C1A-6242-ADBA-B1DF10E98D75}" presName="theList" presStyleCnt="0"/>
      <dgm:spPr/>
    </dgm:pt>
    <dgm:pt modelId="{924D948C-9F17-A341-B51F-0949A102C669}" type="pres">
      <dgm:prSet presAssocID="{1C3DF7C8-1CE3-D540-B554-4EB579A8DEF2}" presName="aNode" presStyleLbl="fgAcc1" presStyleIdx="0" presStyleCnt="1">
        <dgm:presLayoutVars>
          <dgm:bulletEnabled val="1"/>
        </dgm:presLayoutVars>
      </dgm:prSet>
      <dgm:spPr/>
    </dgm:pt>
    <dgm:pt modelId="{2CBEC60B-AED5-6F4B-A966-E196DB3532A8}" type="pres">
      <dgm:prSet presAssocID="{1C3DF7C8-1CE3-D540-B554-4EB579A8DEF2}" presName="aSpace" presStyleCnt="0"/>
      <dgm:spPr/>
    </dgm:pt>
  </dgm:ptLst>
  <dgm:cxnLst>
    <dgm:cxn modelId="{0EDB822A-8B4B-A44F-A240-8C3B41657D5C}" srcId="{55586DF8-6C1A-6242-ADBA-B1DF10E98D75}" destId="{1C3DF7C8-1CE3-D540-B554-4EB579A8DEF2}" srcOrd="0" destOrd="0" parTransId="{FCEB3AF2-A9BA-6A4C-A7E9-AAF500090AE8}" sibTransId="{1ADF9691-A6BE-F34A-AA80-F0FB3140E76B}"/>
    <dgm:cxn modelId="{96C9525D-9823-41E0-B47D-2E7313384023}" type="presOf" srcId="{9AC69DD1-B59B-A94C-B39C-9F4C23736FF7}" destId="{924D948C-9F17-A341-B51F-0949A102C669}" srcOrd="0" destOrd="2" presId="urn:microsoft.com/office/officeart/2005/8/layout/pyramid2"/>
    <dgm:cxn modelId="{955CCF4E-E628-4D83-8879-0E89A5289237}" type="presOf" srcId="{C2BC523C-317C-454D-A26F-2CE58E8B2E8E}" destId="{924D948C-9F17-A341-B51F-0949A102C669}" srcOrd="0" destOrd="3" presId="urn:microsoft.com/office/officeart/2005/8/layout/pyramid2"/>
    <dgm:cxn modelId="{DC08CA73-3957-4BEF-B997-44D67BADBAD5}" type="presOf" srcId="{55586DF8-6C1A-6242-ADBA-B1DF10E98D75}" destId="{EE3AA85F-2CF6-F94F-A9BF-1815C50C3FC3}" srcOrd="0" destOrd="0" presId="urn:microsoft.com/office/officeart/2005/8/layout/pyramid2"/>
    <dgm:cxn modelId="{491ABA84-1790-4843-97F1-6D82DED37276}" srcId="{1C3DF7C8-1CE3-D540-B554-4EB579A8DEF2}" destId="{C2BC523C-317C-454D-A26F-2CE58E8B2E8E}" srcOrd="2" destOrd="0" parTransId="{C04A49A2-8315-3C49-80F8-EAF40596749A}" sibTransId="{AACFD4B6-1102-8A43-A2FA-14BAC8BB85DD}"/>
    <dgm:cxn modelId="{130CEC94-7694-3943-ACE4-D7A4A5911606}" srcId="{1C3DF7C8-1CE3-D540-B554-4EB579A8DEF2}" destId="{CFA45D71-808D-3F44-BA44-1E353B357807}" srcOrd="0" destOrd="0" parTransId="{598FC5A6-7797-8E41-8A85-1427E7216A79}" sibTransId="{0AB2A7BF-979D-A74C-ADDC-427EBF873D81}"/>
    <dgm:cxn modelId="{26A9F2A4-EC9E-814A-ACF7-AB2BF913F989}" srcId="{1C3DF7C8-1CE3-D540-B554-4EB579A8DEF2}" destId="{9AC69DD1-B59B-A94C-B39C-9F4C23736FF7}" srcOrd="1" destOrd="0" parTransId="{03C438B6-60D0-2D4A-A6C1-9D1FC1045580}" sibTransId="{C61CDC28-CB29-714F-8070-BC2E4B5CA06E}"/>
    <dgm:cxn modelId="{55F893AD-E52F-42B7-A4D7-529EA67F8B98}" type="presOf" srcId="{CFA45D71-808D-3F44-BA44-1E353B357807}" destId="{924D948C-9F17-A341-B51F-0949A102C669}" srcOrd="0" destOrd="1" presId="urn:microsoft.com/office/officeart/2005/8/layout/pyramid2"/>
    <dgm:cxn modelId="{BF9EE1FF-C655-41A7-A37B-95374F9EA1AA}" type="presOf" srcId="{1C3DF7C8-1CE3-D540-B554-4EB579A8DEF2}" destId="{924D948C-9F17-A341-B51F-0949A102C669}" srcOrd="0" destOrd="0" presId="urn:microsoft.com/office/officeart/2005/8/layout/pyramid2"/>
    <dgm:cxn modelId="{044E0B11-4A30-4C3F-8380-C2968ECC5DA4}" type="presParOf" srcId="{EE3AA85F-2CF6-F94F-A9BF-1815C50C3FC3}" destId="{9FFC6C20-8DB8-FA43-9996-320610B5366E}" srcOrd="0" destOrd="0" presId="urn:microsoft.com/office/officeart/2005/8/layout/pyramid2"/>
    <dgm:cxn modelId="{2AEC4009-EE2B-444F-B6F2-06BC2B89721B}" type="presParOf" srcId="{EE3AA85F-2CF6-F94F-A9BF-1815C50C3FC3}" destId="{ADD259AB-B17B-934C-8547-8219E4E9CB27}" srcOrd="1" destOrd="0" presId="urn:microsoft.com/office/officeart/2005/8/layout/pyramid2"/>
    <dgm:cxn modelId="{6EF87FFD-5225-4620-8AC3-4FF26A51B22E}" type="presParOf" srcId="{ADD259AB-B17B-934C-8547-8219E4E9CB27}" destId="{924D948C-9F17-A341-B51F-0949A102C669}" srcOrd="0" destOrd="0" presId="urn:microsoft.com/office/officeart/2005/8/layout/pyramid2"/>
    <dgm:cxn modelId="{7A292AB3-C585-40DD-ACE4-B3AAEC081978}" type="presParOf" srcId="{ADD259AB-B17B-934C-8547-8219E4E9CB27}" destId="{2CBEC60B-AED5-6F4B-A966-E196DB3532A8}" srcOrd="1" destOrd="0" presId="urn:microsoft.com/office/officeart/2005/8/layout/pyramid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8E6A3FF-9C78-4CF4-8AD9-DE3EAE0B156D}"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7AF0D3C7-8FBD-4C10-B379-6F3BEAA4B2F6}">
      <dgm:prSet phldrT="[Text]" custT="1"/>
      <dgm:spPr>
        <a:solidFill>
          <a:srgbClr val="002060"/>
        </a:solidFill>
      </dgm:spPr>
      <dgm:t>
        <a:bodyPr/>
        <a:lstStyle/>
        <a:p>
          <a:pPr algn="ctr"/>
          <a:r>
            <a:rPr lang="en-US" sz="3200" dirty="0"/>
            <a:t>Mental Health</a:t>
          </a:r>
        </a:p>
      </dgm:t>
    </dgm:pt>
    <dgm:pt modelId="{F506C476-CAB7-4420-AEBA-AF7932B4661F}" type="parTrans" cxnId="{F4B56D97-FDC3-472C-9D48-EBE8D40CA964}">
      <dgm:prSet/>
      <dgm:spPr/>
      <dgm:t>
        <a:bodyPr/>
        <a:lstStyle/>
        <a:p>
          <a:endParaRPr lang="en-US"/>
        </a:p>
      </dgm:t>
    </dgm:pt>
    <dgm:pt modelId="{54F69F69-1DBF-4028-988A-24B2266E00F6}" type="sibTrans" cxnId="{F4B56D97-FDC3-472C-9D48-EBE8D40CA964}">
      <dgm:prSet/>
      <dgm:spPr/>
      <dgm:t>
        <a:bodyPr/>
        <a:lstStyle/>
        <a:p>
          <a:endParaRPr lang="en-US"/>
        </a:p>
      </dgm:t>
    </dgm:pt>
    <dgm:pt modelId="{580CE702-295C-4013-88BE-B6D038159C8D}">
      <dgm:prSet phldrT="[Text]" custT="1"/>
      <dgm:spPr>
        <a:solidFill>
          <a:srgbClr val="002060"/>
        </a:solidFill>
      </dgm:spPr>
      <dgm:t>
        <a:bodyPr/>
        <a:lstStyle/>
        <a:p>
          <a:pPr algn="ctr"/>
          <a:r>
            <a:rPr lang="en-US" sz="3200" dirty="0"/>
            <a:t>Overt Strokes and Silent Strokes</a:t>
          </a:r>
        </a:p>
      </dgm:t>
    </dgm:pt>
    <dgm:pt modelId="{B833A4A8-3946-4CE1-B7B6-797D920F8FDC}" type="parTrans" cxnId="{5E6CC725-665E-45AB-8309-204320C8D280}">
      <dgm:prSet/>
      <dgm:spPr/>
      <dgm:t>
        <a:bodyPr/>
        <a:lstStyle/>
        <a:p>
          <a:endParaRPr lang="en-US"/>
        </a:p>
      </dgm:t>
    </dgm:pt>
    <dgm:pt modelId="{2C1FFF0D-C694-469B-8DE5-9A94CE5DE8AB}" type="sibTrans" cxnId="{5E6CC725-665E-45AB-8309-204320C8D280}">
      <dgm:prSet/>
      <dgm:spPr/>
      <dgm:t>
        <a:bodyPr/>
        <a:lstStyle/>
        <a:p>
          <a:endParaRPr lang="en-US"/>
        </a:p>
      </dgm:t>
    </dgm:pt>
    <dgm:pt modelId="{A78089BE-7D95-4760-BC58-67B425B9647A}">
      <dgm:prSet phldrT="[Text]" custT="1"/>
      <dgm:spPr>
        <a:solidFill>
          <a:srgbClr val="002060"/>
        </a:solidFill>
      </dgm:spPr>
      <dgm:t>
        <a:bodyPr/>
        <a:lstStyle/>
        <a:p>
          <a:pPr algn="ctr">
            <a:spcAft>
              <a:spcPts val="42"/>
            </a:spcAft>
          </a:pPr>
          <a:r>
            <a:rPr lang="en-US" sz="3200" dirty="0"/>
            <a:t>Elevated Tricuspid Jet Velocity or</a:t>
          </a:r>
        </a:p>
        <a:p>
          <a:pPr algn="ctr">
            <a:spcAft>
              <a:spcPct val="35000"/>
            </a:spcAft>
          </a:pPr>
          <a:r>
            <a:rPr lang="en-US" sz="3200" dirty="0"/>
            <a:t>NT-BNP</a:t>
          </a:r>
        </a:p>
      </dgm:t>
    </dgm:pt>
    <dgm:pt modelId="{CD4D5670-6AAF-497C-90B7-84EA2BCABA33}" type="parTrans" cxnId="{FDFAB4BB-FC18-407C-9FF4-23334F345CB6}">
      <dgm:prSet/>
      <dgm:spPr/>
      <dgm:t>
        <a:bodyPr/>
        <a:lstStyle/>
        <a:p>
          <a:endParaRPr lang="en-US"/>
        </a:p>
      </dgm:t>
    </dgm:pt>
    <dgm:pt modelId="{011BA8AF-68EA-4CE4-8379-5091355E57C0}" type="sibTrans" cxnId="{FDFAB4BB-FC18-407C-9FF4-23334F345CB6}">
      <dgm:prSet/>
      <dgm:spPr/>
      <dgm:t>
        <a:bodyPr/>
        <a:lstStyle/>
        <a:p>
          <a:endParaRPr lang="en-US"/>
        </a:p>
      </dgm:t>
    </dgm:pt>
    <dgm:pt modelId="{164BBC9E-BF6A-4888-876C-D372173F066F}">
      <dgm:prSet phldrT="[Text]" custT="1"/>
      <dgm:spPr>
        <a:solidFill>
          <a:srgbClr val="002060"/>
        </a:solidFill>
      </dgm:spPr>
      <dgm:t>
        <a:bodyPr/>
        <a:lstStyle/>
        <a:p>
          <a:pPr algn="ctr"/>
          <a:r>
            <a:rPr lang="en-US" sz="3200" dirty="0"/>
            <a:t>Renal</a:t>
          </a:r>
          <a:endParaRPr lang="en-US" sz="3200" dirty="0">
            <a:latin typeface="+mn-lt"/>
          </a:endParaRPr>
        </a:p>
      </dgm:t>
    </dgm:pt>
    <dgm:pt modelId="{8F19AD36-FE08-40A1-964B-C2593D29E36E}" type="parTrans" cxnId="{EE0D0580-CDE0-43C5-80AB-157B9D173AA3}">
      <dgm:prSet/>
      <dgm:spPr/>
      <dgm:t>
        <a:bodyPr/>
        <a:lstStyle/>
        <a:p>
          <a:endParaRPr lang="en-US"/>
        </a:p>
      </dgm:t>
    </dgm:pt>
    <dgm:pt modelId="{E64DD307-A901-42E0-9DCF-48591898197B}" type="sibTrans" cxnId="{EE0D0580-CDE0-43C5-80AB-157B9D173AA3}">
      <dgm:prSet/>
      <dgm:spPr/>
      <dgm:t>
        <a:bodyPr/>
        <a:lstStyle/>
        <a:p>
          <a:endParaRPr lang="en-US"/>
        </a:p>
      </dgm:t>
    </dgm:pt>
    <dgm:pt modelId="{0D894429-1610-4BDB-8592-90560C1DFD33}">
      <dgm:prSet custT="1"/>
      <dgm:spPr>
        <a:solidFill>
          <a:srgbClr val="002060"/>
        </a:solidFill>
      </dgm:spPr>
      <dgm:t>
        <a:bodyPr/>
        <a:lstStyle/>
        <a:p>
          <a:pPr algn="ctr"/>
          <a:r>
            <a:rPr lang="en-US" sz="3200" dirty="0"/>
            <a:t>Chronic Pain</a:t>
          </a:r>
        </a:p>
      </dgm:t>
    </dgm:pt>
    <dgm:pt modelId="{6C978900-2BB0-4BF1-BC13-B30C260B6246}" type="parTrans" cxnId="{67CF43B3-BD87-492C-9648-37FE14526394}">
      <dgm:prSet/>
      <dgm:spPr/>
      <dgm:t>
        <a:bodyPr/>
        <a:lstStyle/>
        <a:p>
          <a:endParaRPr lang="en-US"/>
        </a:p>
      </dgm:t>
    </dgm:pt>
    <dgm:pt modelId="{80B58674-8FDE-4EBD-A082-2BC8E6D84850}" type="sibTrans" cxnId="{67CF43B3-BD87-492C-9648-37FE14526394}">
      <dgm:prSet/>
      <dgm:spPr/>
      <dgm:t>
        <a:bodyPr/>
        <a:lstStyle/>
        <a:p>
          <a:endParaRPr lang="en-US"/>
        </a:p>
      </dgm:t>
    </dgm:pt>
    <dgm:pt modelId="{FBFB6188-F2D7-4A85-9F8A-1F5CC7AAAA61}">
      <dgm:prSet custT="1"/>
      <dgm:spPr>
        <a:solidFill>
          <a:srgbClr val="002060"/>
        </a:solidFill>
      </dgm:spPr>
      <dgm:t>
        <a:bodyPr/>
        <a:lstStyle/>
        <a:p>
          <a:pPr algn="ctr"/>
          <a:endParaRPr lang="en-US" sz="3200" dirty="0"/>
        </a:p>
        <a:p>
          <a:pPr algn="ctr"/>
          <a:r>
            <a:rPr lang="en-US" sz="3200" dirty="0"/>
            <a:t>Asthma or Recurrent Wheezing</a:t>
          </a:r>
        </a:p>
        <a:p>
          <a:pPr algn="l"/>
          <a:endParaRPr lang="en-US" sz="3200" dirty="0">
            <a:latin typeface="+mn-lt"/>
          </a:endParaRPr>
        </a:p>
      </dgm:t>
    </dgm:pt>
    <dgm:pt modelId="{75195099-E228-48CA-B4C4-ED1F57E9B724}" type="parTrans" cxnId="{3D1B0FE1-5E35-4148-A6FB-1CC938FDC625}">
      <dgm:prSet/>
      <dgm:spPr/>
      <dgm:t>
        <a:bodyPr/>
        <a:lstStyle/>
        <a:p>
          <a:endParaRPr lang="en-US"/>
        </a:p>
      </dgm:t>
    </dgm:pt>
    <dgm:pt modelId="{A04F2AA7-346F-4DA7-8CD3-7201EF46F6E7}" type="sibTrans" cxnId="{3D1B0FE1-5E35-4148-A6FB-1CC938FDC625}">
      <dgm:prSet/>
      <dgm:spPr/>
      <dgm:t>
        <a:bodyPr/>
        <a:lstStyle/>
        <a:p>
          <a:endParaRPr lang="en-US"/>
        </a:p>
      </dgm:t>
    </dgm:pt>
    <dgm:pt modelId="{708D01CE-1AA4-462D-A541-D25C2707BD0A}" type="pres">
      <dgm:prSet presAssocID="{C8E6A3FF-9C78-4CF4-8AD9-DE3EAE0B156D}" presName="diagram" presStyleCnt="0">
        <dgm:presLayoutVars>
          <dgm:dir/>
          <dgm:resizeHandles val="exact"/>
        </dgm:presLayoutVars>
      </dgm:prSet>
      <dgm:spPr/>
    </dgm:pt>
    <dgm:pt modelId="{2B450DCC-CEA0-4F0D-9083-565CB8191126}" type="pres">
      <dgm:prSet presAssocID="{7AF0D3C7-8FBD-4C10-B379-6F3BEAA4B2F6}" presName="node" presStyleLbl="node1" presStyleIdx="0" presStyleCnt="6" custLinFactNeighborY="-24427">
        <dgm:presLayoutVars>
          <dgm:bulletEnabled val="1"/>
        </dgm:presLayoutVars>
      </dgm:prSet>
      <dgm:spPr/>
    </dgm:pt>
    <dgm:pt modelId="{0D447E4C-B0D1-4A34-B099-0BEE7514A71F}" type="pres">
      <dgm:prSet presAssocID="{54F69F69-1DBF-4028-988A-24B2266E00F6}" presName="sibTrans" presStyleCnt="0"/>
      <dgm:spPr/>
    </dgm:pt>
    <dgm:pt modelId="{2C7D5136-7FFC-460F-9127-029BDC1909B2}" type="pres">
      <dgm:prSet presAssocID="{0D894429-1610-4BDB-8592-90560C1DFD33}" presName="node" presStyleLbl="node1" presStyleIdx="1" presStyleCnt="6" custLinFactNeighborY="-24427">
        <dgm:presLayoutVars>
          <dgm:bulletEnabled val="1"/>
        </dgm:presLayoutVars>
      </dgm:prSet>
      <dgm:spPr/>
    </dgm:pt>
    <dgm:pt modelId="{11C8F763-ED79-489D-BBD3-C483A68B9739}" type="pres">
      <dgm:prSet presAssocID="{80B58674-8FDE-4EBD-A082-2BC8E6D84850}" presName="sibTrans" presStyleCnt="0"/>
      <dgm:spPr/>
    </dgm:pt>
    <dgm:pt modelId="{90993E03-59E7-438B-88A6-6EB9646D4CD4}" type="pres">
      <dgm:prSet presAssocID="{580CE702-295C-4013-88BE-B6D038159C8D}" presName="node" presStyleLbl="node1" presStyleIdx="2" presStyleCnt="6" custLinFactNeighborY="-24427">
        <dgm:presLayoutVars>
          <dgm:bulletEnabled val="1"/>
        </dgm:presLayoutVars>
      </dgm:prSet>
      <dgm:spPr/>
    </dgm:pt>
    <dgm:pt modelId="{556711CE-A978-49C3-8225-D1633156F23B}" type="pres">
      <dgm:prSet presAssocID="{2C1FFF0D-C694-469B-8DE5-9A94CE5DE8AB}" presName="sibTrans" presStyleCnt="0"/>
      <dgm:spPr/>
    </dgm:pt>
    <dgm:pt modelId="{964C67CC-32D3-4D0D-BB66-C56021D16521}" type="pres">
      <dgm:prSet presAssocID="{A78089BE-7D95-4760-BC58-67B425B9647A}" presName="node" presStyleLbl="node1" presStyleIdx="3" presStyleCnt="6" custLinFactNeighborY="-24427">
        <dgm:presLayoutVars>
          <dgm:bulletEnabled val="1"/>
        </dgm:presLayoutVars>
      </dgm:prSet>
      <dgm:spPr/>
    </dgm:pt>
    <dgm:pt modelId="{76E92871-CFA7-44A8-9819-90A7A90BDC17}" type="pres">
      <dgm:prSet presAssocID="{011BA8AF-68EA-4CE4-8379-5091355E57C0}" presName="sibTrans" presStyleCnt="0"/>
      <dgm:spPr/>
    </dgm:pt>
    <dgm:pt modelId="{2DD5DB10-D680-4C51-A853-A4B7C87D1A4E}" type="pres">
      <dgm:prSet presAssocID="{164BBC9E-BF6A-4888-876C-D372173F066F}" presName="node" presStyleLbl="node1" presStyleIdx="4" presStyleCnt="6" custLinFactNeighborY="-24427">
        <dgm:presLayoutVars>
          <dgm:bulletEnabled val="1"/>
        </dgm:presLayoutVars>
      </dgm:prSet>
      <dgm:spPr/>
    </dgm:pt>
    <dgm:pt modelId="{30365FD3-C81D-4C84-A7F8-233E302077E1}" type="pres">
      <dgm:prSet presAssocID="{E64DD307-A901-42E0-9DCF-48591898197B}" presName="sibTrans" presStyleCnt="0"/>
      <dgm:spPr/>
    </dgm:pt>
    <dgm:pt modelId="{B9F50E70-6248-4332-A79A-4293F584BF6E}" type="pres">
      <dgm:prSet presAssocID="{FBFB6188-F2D7-4A85-9F8A-1F5CC7AAAA61}" presName="node" presStyleLbl="node1" presStyleIdx="5" presStyleCnt="6" custLinFactNeighborY="-23293">
        <dgm:presLayoutVars>
          <dgm:bulletEnabled val="1"/>
        </dgm:presLayoutVars>
      </dgm:prSet>
      <dgm:spPr/>
    </dgm:pt>
  </dgm:ptLst>
  <dgm:cxnLst>
    <dgm:cxn modelId="{CFDB770B-E620-46ED-9C28-7A0C8651B155}" type="presOf" srcId="{FBFB6188-F2D7-4A85-9F8A-1F5CC7AAAA61}" destId="{B9F50E70-6248-4332-A79A-4293F584BF6E}" srcOrd="0" destOrd="0" presId="urn:microsoft.com/office/officeart/2005/8/layout/default"/>
    <dgm:cxn modelId="{14F8761C-B2DA-4F4E-B53B-D30D2FB60744}" type="presOf" srcId="{0D894429-1610-4BDB-8592-90560C1DFD33}" destId="{2C7D5136-7FFC-460F-9127-029BDC1909B2}" srcOrd="0" destOrd="0" presId="urn:microsoft.com/office/officeart/2005/8/layout/default"/>
    <dgm:cxn modelId="{5E6CC725-665E-45AB-8309-204320C8D280}" srcId="{C8E6A3FF-9C78-4CF4-8AD9-DE3EAE0B156D}" destId="{580CE702-295C-4013-88BE-B6D038159C8D}" srcOrd="2" destOrd="0" parTransId="{B833A4A8-3946-4CE1-B7B6-797D920F8FDC}" sibTransId="{2C1FFF0D-C694-469B-8DE5-9A94CE5DE8AB}"/>
    <dgm:cxn modelId="{DC3C4835-E1C9-4424-A3E9-3D8B885D01E2}" type="presOf" srcId="{164BBC9E-BF6A-4888-876C-D372173F066F}" destId="{2DD5DB10-D680-4C51-A853-A4B7C87D1A4E}" srcOrd="0" destOrd="0" presId="urn:microsoft.com/office/officeart/2005/8/layout/default"/>
    <dgm:cxn modelId="{EAB59F68-C44B-4200-A34D-398FF7BA694B}" type="presOf" srcId="{580CE702-295C-4013-88BE-B6D038159C8D}" destId="{90993E03-59E7-438B-88A6-6EB9646D4CD4}" srcOrd="0" destOrd="0" presId="urn:microsoft.com/office/officeart/2005/8/layout/default"/>
    <dgm:cxn modelId="{683C7955-5219-4A59-9C63-761E3C1E5E28}" type="presOf" srcId="{C8E6A3FF-9C78-4CF4-8AD9-DE3EAE0B156D}" destId="{708D01CE-1AA4-462D-A541-D25C2707BD0A}" srcOrd="0" destOrd="0" presId="urn:microsoft.com/office/officeart/2005/8/layout/default"/>
    <dgm:cxn modelId="{EE0D0580-CDE0-43C5-80AB-157B9D173AA3}" srcId="{C8E6A3FF-9C78-4CF4-8AD9-DE3EAE0B156D}" destId="{164BBC9E-BF6A-4888-876C-D372173F066F}" srcOrd="4" destOrd="0" parTransId="{8F19AD36-FE08-40A1-964B-C2593D29E36E}" sibTransId="{E64DD307-A901-42E0-9DCF-48591898197B}"/>
    <dgm:cxn modelId="{F4B56D97-FDC3-472C-9D48-EBE8D40CA964}" srcId="{C8E6A3FF-9C78-4CF4-8AD9-DE3EAE0B156D}" destId="{7AF0D3C7-8FBD-4C10-B379-6F3BEAA4B2F6}" srcOrd="0" destOrd="0" parTransId="{F506C476-CAB7-4420-AEBA-AF7932B4661F}" sibTransId="{54F69F69-1DBF-4028-988A-24B2266E00F6}"/>
    <dgm:cxn modelId="{67CF43B3-BD87-492C-9648-37FE14526394}" srcId="{C8E6A3FF-9C78-4CF4-8AD9-DE3EAE0B156D}" destId="{0D894429-1610-4BDB-8592-90560C1DFD33}" srcOrd="1" destOrd="0" parTransId="{6C978900-2BB0-4BF1-BC13-B30C260B6246}" sibTransId="{80B58674-8FDE-4EBD-A082-2BC8E6D84850}"/>
    <dgm:cxn modelId="{FDFAB4BB-FC18-407C-9FF4-23334F345CB6}" srcId="{C8E6A3FF-9C78-4CF4-8AD9-DE3EAE0B156D}" destId="{A78089BE-7D95-4760-BC58-67B425B9647A}" srcOrd="3" destOrd="0" parTransId="{CD4D5670-6AAF-497C-90B7-84EA2BCABA33}" sibTransId="{011BA8AF-68EA-4CE4-8379-5091355E57C0}"/>
    <dgm:cxn modelId="{CC585EC3-F261-42F3-9E3F-3EFBEC59A009}" type="presOf" srcId="{7AF0D3C7-8FBD-4C10-B379-6F3BEAA4B2F6}" destId="{2B450DCC-CEA0-4F0D-9083-565CB8191126}" srcOrd="0" destOrd="0" presId="urn:microsoft.com/office/officeart/2005/8/layout/default"/>
    <dgm:cxn modelId="{CCF797E0-6910-4477-BE6B-AF20C27B388A}" type="presOf" srcId="{A78089BE-7D95-4760-BC58-67B425B9647A}" destId="{964C67CC-32D3-4D0D-BB66-C56021D16521}" srcOrd="0" destOrd="0" presId="urn:microsoft.com/office/officeart/2005/8/layout/default"/>
    <dgm:cxn modelId="{3D1B0FE1-5E35-4148-A6FB-1CC938FDC625}" srcId="{C8E6A3FF-9C78-4CF4-8AD9-DE3EAE0B156D}" destId="{FBFB6188-F2D7-4A85-9F8A-1F5CC7AAAA61}" srcOrd="5" destOrd="0" parTransId="{75195099-E228-48CA-B4C4-ED1F57E9B724}" sibTransId="{A04F2AA7-346F-4DA7-8CD3-7201EF46F6E7}"/>
    <dgm:cxn modelId="{F175B76D-381B-4A59-B361-2EF5F29D58D1}" type="presParOf" srcId="{708D01CE-1AA4-462D-A541-D25C2707BD0A}" destId="{2B450DCC-CEA0-4F0D-9083-565CB8191126}" srcOrd="0" destOrd="0" presId="urn:microsoft.com/office/officeart/2005/8/layout/default"/>
    <dgm:cxn modelId="{AFE297B3-C234-41A9-A62C-4A811BE2A157}" type="presParOf" srcId="{708D01CE-1AA4-462D-A541-D25C2707BD0A}" destId="{0D447E4C-B0D1-4A34-B099-0BEE7514A71F}" srcOrd="1" destOrd="0" presId="urn:microsoft.com/office/officeart/2005/8/layout/default"/>
    <dgm:cxn modelId="{450CD66F-43D5-4845-98CC-96170F1B16AE}" type="presParOf" srcId="{708D01CE-1AA4-462D-A541-D25C2707BD0A}" destId="{2C7D5136-7FFC-460F-9127-029BDC1909B2}" srcOrd="2" destOrd="0" presId="urn:microsoft.com/office/officeart/2005/8/layout/default"/>
    <dgm:cxn modelId="{BCF28517-5B17-4E91-A35E-E9C088A780D2}" type="presParOf" srcId="{708D01CE-1AA4-462D-A541-D25C2707BD0A}" destId="{11C8F763-ED79-489D-BBD3-C483A68B9739}" srcOrd="3" destOrd="0" presId="urn:microsoft.com/office/officeart/2005/8/layout/default"/>
    <dgm:cxn modelId="{0C0EF6B1-A294-4366-8D43-9BDD420A2642}" type="presParOf" srcId="{708D01CE-1AA4-462D-A541-D25C2707BD0A}" destId="{90993E03-59E7-438B-88A6-6EB9646D4CD4}" srcOrd="4" destOrd="0" presId="urn:microsoft.com/office/officeart/2005/8/layout/default"/>
    <dgm:cxn modelId="{8FE3239B-D66A-422C-824A-D170507907EA}" type="presParOf" srcId="{708D01CE-1AA4-462D-A541-D25C2707BD0A}" destId="{556711CE-A978-49C3-8225-D1633156F23B}" srcOrd="5" destOrd="0" presId="urn:microsoft.com/office/officeart/2005/8/layout/default"/>
    <dgm:cxn modelId="{4F986A5F-53AF-43B5-8D21-C69661C56B7B}" type="presParOf" srcId="{708D01CE-1AA4-462D-A541-D25C2707BD0A}" destId="{964C67CC-32D3-4D0D-BB66-C56021D16521}" srcOrd="6" destOrd="0" presId="urn:microsoft.com/office/officeart/2005/8/layout/default"/>
    <dgm:cxn modelId="{ED411296-9D19-43ED-84B3-C0EB473BCFE9}" type="presParOf" srcId="{708D01CE-1AA4-462D-A541-D25C2707BD0A}" destId="{76E92871-CFA7-44A8-9819-90A7A90BDC17}" srcOrd="7" destOrd="0" presId="urn:microsoft.com/office/officeart/2005/8/layout/default"/>
    <dgm:cxn modelId="{41AC4E32-E3A6-4E81-96CD-E6CE701BEEC7}" type="presParOf" srcId="{708D01CE-1AA4-462D-A541-D25C2707BD0A}" destId="{2DD5DB10-D680-4C51-A853-A4B7C87D1A4E}" srcOrd="8" destOrd="0" presId="urn:microsoft.com/office/officeart/2005/8/layout/default"/>
    <dgm:cxn modelId="{52BB1DF0-E951-4601-A08F-2B12ABE648A6}" type="presParOf" srcId="{708D01CE-1AA4-462D-A541-D25C2707BD0A}" destId="{30365FD3-C81D-4C84-A7F8-233E302077E1}" srcOrd="9" destOrd="0" presId="urn:microsoft.com/office/officeart/2005/8/layout/default"/>
    <dgm:cxn modelId="{964A0FFB-C3B3-4C95-A4C4-373B3D35D3C1}" type="presParOf" srcId="{708D01CE-1AA4-462D-A541-D25C2707BD0A}" destId="{B9F50E70-6248-4332-A79A-4293F584BF6E}"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C8E6A3FF-9C78-4CF4-8AD9-DE3EAE0B156D}"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0D894429-1610-4BDB-8592-90560C1DFD33}">
      <dgm:prSet custT="1"/>
      <dgm:spPr>
        <a:solidFill>
          <a:srgbClr val="002060"/>
        </a:solidFill>
      </dgm:spPr>
      <dgm:t>
        <a:bodyPr/>
        <a:lstStyle/>
        <a:p>
          <a:pPr algn="ctr"/>
          <a:r>
            <a:rPr lang="en-US" sz="4000" dirty="0"/>
            <a:t>Chronic Pain</a:t>
          </a:r>
        </a:p>
        <a:p>
          <a:pPr algn="ctr"/>
          <a:endParaRPr lang="en-US" sz="4000" dirty="0"/>
        </a:p>
        <a:p>
          <a:pPr algn="l"/>
          <a:r>
            <a:rPr lang="en-US" sz="3600" dirty="0"/>
            <a:t>-R/O other causes (AVN, other fractures)</a:t>
          </a:r>
        </a:p>
        <a:p>
          <a:pPr algn="l"/>
          <a:r>
            <a:rPr lang="en-US" sz="3600" dirty="0"/>
            <a:t>-Individualized plan</a:t>
          </a:r>
        </a:p>
        <a:p>
          <a:pPr algn="l"/>
          <a:r>
            <a:rPr lang="en-US" sz="3600" dirty="0"/>
            <a:t>-Formal evaluation for depression and anxiety</a:t>
          </a:r>
        </a:p>
        <a:p>
          <a:pPr algn="l"/>
          <a:r>
            <a:rPr lang="en-US" sz="3600" dirty="0"/>
            <a:t>-Primary care provider referral</a:t>
          </a:r>
        </a:p>
      </dgm:t>
    </dgm:pt>
    <dgm:pt modelId="{80B58674-8FDE-4EBD-A082-2BC8E6D84850}" type="sibTrans" cxnId="{67CF43B3-BD87-492C-9648-37FE14526394}">
      <dgm:prSet/>
      <dgm:spPr/>
      <dgm:t>
        <a:bodyPr/>
        <a:lstStyle/>
        <a:p>
          <a:endParaRPr lang="en-US"/>
        </a:p>
      </dgm:t>
    </dgm:pt>
    <dgm:pt modelId="{6C978900-2BB0-4BF1-BC13-B30C260B6246}" type="parTrans" cxnId="{67CF43B3-BD87-492C-9648-37FE14526394}">
      <dgm:prSet/>
      <dgm:spPr/>
      <dgm:t>
        <a:bodyPr/>
        <a:lstStyle/>
        <a:p>
          <a:endParaRPr lang="en-US"/>
        </a:p>
      </dgm:t>
    </dgm:pt>
    <dgm:pt modelId="{708D01CE-1AA4-462D-A541-D25C2707BD0A}" type="pres">
      <dgm:prSet presAssocID="{C8E6A3FF-9C78-4CF4-8AD9-DE3EAE0B156D}" presName="diagram" presStyleCnt="0">
        <dgm:presLayoutVars>
          <dgm:dir/>
          <dgm:resizeHandles val="exact"/>
        </dgm:presLayoutVars>
      </dgm:prSet>
      <dgm:spPr/>
    </dgm:pt>
    <dgm:pt modelId="{2C7D5136-7FFC-460F-9127-029BDC1909B2}" type="pres">
      <dgm:prSet presAssocID="{0D894429-1610-4BDB-8592-90560C1DFD33}" presName="node" presStyleLbl="node1" presStyleIdx="0" presStyleCnt="1" custLinFactNeighborY="-24427">
        <dgm:presLayoutVars>
          <dgm:bulletEnabled val="1"/>
        </dgm:presLayoutVars>
      </dgm:prSet>
      <dgm:spPr/>
    </dgm:pt>
  </dgm:ptLst>
  <dgm:cxnLst>
    <dgm:cxn modelId="{14F8761C-B2DA-4F4E-B53B-D30D2FB60744}" type="presOf" srcId="{0D894429-1610-4BDB-8592-90560C1DFD33}" destId="{2C7D5136-7FFC-460F-9127-029BDC1909B2}" srcOrd="0" destOrd="0" presId="urn:microsoft.com/office/officeart/2005/8/layout/default"/>
    <dgm:cxn modelId="{683C7955-5219-4A59-9C63-761E3C1E5E28}" type="presOf" srcId="{C8E6A3FF-9C78-4CF4-8AD9-DE3EAE0B156D}" destId="{708D01CE-1AA4-462D-A541-D25C2707BD0A}" srcOrd="0" destOrd="0" presId="urn:microsoft.com/office/officeart/2005/8/layout/default"/>
    <dgm:cxn modelId="{67CF43B3-BD87-492C-9648-37FE14526394}" srcId="{C8E6A3FF-9C78-4CF4-8AD9-DE3EAE0B156D}" destId="{0D894429-1610-4BDB-8592-90560C1DFD33}" srcOrd="0" destOrd="0" parTransId="{6C978900-2BB0-4BF1-BC13-B30C260B6246}" sibTransId="{80B58674-8FDE-4EBD-A082-2BC8E6D84850}"/>
    <dgm:cxn modelId="{450CD66F-43D5-4845-98CC-96170F1B16AE}" type="presParOf" srcId="{708D01CE-1AA4-462D-A541-D25C2707BD0A}" destId="{2C7D5136-7FFC-460F-9127-029BDC1909B2}" srcOrd="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C8E6A3FF-9C78-4CF4-8AD9-DE3EAE0B156D}"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7AF0D3C7-8FBD-4C10-B379-6F3BEAA4B2F6}">
      <dgm:prSet phldrT="[Text]" custT="1"/>
      <dgm:spPr>
        <a:solidFill>
          <a:srgbClr val="002060"/>
        </a:solidFill>
      </dgm:spPr>
      <dgm:t>
        <a:bodyPr/>
        <a:lstStyle/>
        <a:p>
          <a:pPr algn="ctr"/>
          <a:r>
            <a:rPr lang="en-US" sz="4000" dirty="0"/>
            <a:t>Mental Health</a:t>
          </a:r>
        </a:p>
        <a:p>
          <a:pPr algn="ctr"/>
          <a:endParaRPr lang="en-US" sz="4000" dirty="0"/>
        </a:p>
        <a:p>
          <a:pPr algn="l"/>
          <a:r>
            <a:rPr lang="en-US" sz="3600" dirty="0"/>
            <a:t>-Ongoing assessment  of depression and anxiety</a:t>
          </a:r>
        </a:p>
        <a:p>
          <a:pPr algn="l"/>
          <a:r>
            <a:rPr lang="en-US" sz="3600" dirty="0"/>
            <a:t>-Primary care management</a:t>
          </a:r>
        </a:p>
        <a:p>
          <a:pPr algn="l"/>
          <a:r>
            <a:rPr lang="en-US" sz="3600" dirty="0"/>
            <a:t>-Referral to mental health therapist</a:t>
          </a:r>
        </a:p>
        <a:p>
          <a:pPr algn="l"/>
          <a:endParaRPr lang="en-US" sz="1600" dirty="0"/>
        </a:p>
      </dgm:t>
    </dgm:pt>
    <dgm:pt modelId="{F506C476-CAB7-4420-AEBA-AF7932B4661F}" type="parTrans" cxnId="{F4B56D97-FDC3-472C-9D48-EBE8D40CA964}">
      <dgm:prSet/>
      <dgm:spPr/>
      <dgm:t>
        <a:bodyPr/>
        <a:lstStyle/>
        <a:p>
          <a:endParaRPr lang="en-US"/>
        </a:p>
      </dgm:t>
    </dgm:pt>
    <dgm:pt modelId="{54F69F69-1DBF-4028-988A-24B2266E00F6}" type="sibTrans" cxnId="{F4B56D97-FDC3-472C-9D48-EBE8D40CA964}">
      <dgm:prSet/>
      <dgm:spPr/>
      <dgm:t>
        <a:bodyPr/>
        <a:lstStyle/>
        <a:p>
          <a:endParaRPr lang="en-US"/>
        </a:p>
      </dgm:t>
    </dgm:pt>
    <dgm:pt modelId="{708D01CE-1AA4-462D-A541-D25C2707BD0A}" type="pres">
      <dgm:prSet presAssocID="{C8E6A3FF-9C78-4CF4-8AD9-DE3EAE0B156D}" presName="diagram" presStyleCnt="0">
        <dgm:presLayoutVars>
          <dgm:dir/>
          <dgm:resizeHandles val="exact"/>
        </dgm:presLayoutVars>
      </dgm:prSet>
      <dgm:spPr/>
    </dgm:pt>
    <dgm:pt modelId="{2B450DCC-CEA0-4F0D-9083-565CB8191126}" type="pres">
      <dgm:prSet presAssocID="{7AF0D3C7-8FBD-4C10-B379-6F3BEAA4B2F6}" presName="node" presStyleLbl="node1" presStyleIdx="0" presStyleCnt="1" custLinFactNeighborY="-24427">
        <dgm:presLayoutVars>
          <dgm:bulletEnabled val="1"/>
        </dgm:presLayoutVars>
      </dgm:prSet>
      <dgm:spPr/>
    </dgm:pt>
  </dgm:ptLst>
  <dgm:cxnLst>
    <dgm:cxn modelId="{683C7955-5219-4A59-9C63-761E3C1E5E28}" type="presOf" srcId="{C8E6A3FF-9C78-4CF4-8AD9-DE3EAE0B156D}" destId="{708D01CE-1AA4-462D-A541-D25C2707BD0A}" srcOrd="0" destOrd="0" presId="urn:microsoft.com/office/officeart/2005/8/layout/default"/>
    <dgm:cxn modelId="{F4B56D97-FDC3-472C-9D48-EBE8D40CA964}" srcId="{C8E6A3FF-9C78-4CF4-8AD9-DE3EAE0B156D}" destId="{7AF0D3C7-8FBD-4C10-B379-6F3BEAA4B2F6}" srcOrd="0" destOrd="0" parTransId="{F506C476-CAB7-4420-AEBA-AF7932B4661F}" sibTransId="{54F69F69-1DBF-4028-988A-24B2266E00F6}"/>
    <dgm:cxn modelId="{CC585EC3-F261-42F3-9E3F-3EFBEC59A009}" type="presOf" srcId="{7AF0D3C7-8FBD-4C10-B379-6F3BEAA4B2F6}" destId="{2B450DCC-CEA0-4F0D-9083-565CB8191126}" srcOrd="0" destOrd="0" presId="urn:microsoft.com/office/officeart/2005/8/layout/default"/>
    <dgm:cxn modelId="{F175B76D-381B-4A59-B361-2EF5F29D58D1}" type="presParOf" srcId="{708D01CE-1AA4-462D-A541-D25C2707BD0A}" destId="{2B450DCC-CEA0-4F0D-9083-565CB8191126}" srcOrd="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C8E6A3FF-9C78-4CF4-8AD9-DE3EAE0B156D}"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580CE702-295C-4013-88BE-B6D038159C8D}">
      <dgm:prSet phldrT="[Text]" custT="1"/>
      <dgm:spPr>
        <a:solidFill>
          <a:srgbClr val="002060"/>
        </a:solidFill>
      </dgm:spPr>
      <dgm:t>
        <a:bodyPr/>
        <a:lstStyle/>
        <a:p>
          <a:pPr algn="ctr"/>
          <a:r>
            <a:rPr lang="en-US" sz="4000" dirty="0"/>
            <a:t>Overt Strokes and Silent Strokes</a:t>
          </a:r>
        </a:p>
        <a:p>
          <a:pPr algn="ctr"/>
          <a:endParaRPr lang="en-US" sz="4000" dirty="0"/>
        </a:p>
        <a:p>
          <a:pPr algn="l"/>
          <a:r>
            <a:rPr lang="en-US" sz="3600" dirty="0"/>
            <a:t>-Standard care</a:t>
          </a:r>
        </a:p>
        <a:p>
          <a:pPr algn="l"/>
          <a:r>
            <a:rPr lang="en-US" sz="3600" dirty="0"/>
            <a:t>-Blood transfusion therapy</a:t>
          </a:r>
        </a:p>
        <a:p>
          <a:pPr algn="l"/>
          <a:r>
            <a:rPr lang="en-US" sz="3600" dirty="0"/>
            <a:t>-Iron chelation</a:t>
          </a:r>
        </a:p>
        <a:p>
          <a:pPr algn="l"/>
          <a:r>
            <a:rPr lang="en-US" sz="3600" dirty="0"/>
            <a:t>-Bone marrow transplant</a:t>
          </a:r>
        </a:p>
      </dgm:t>
    </dgm:pt>
    <dgm:pt modelId="{B833A4A8-3946-4CE1-B7B6-797D920F8FDC}" type="parTrans" cxnId="{5E6CC725-665E-45AB-8309-204320C8D280}">
      <dgm:prSet/>
      <dgm:spPr/>
      <dgm:t>
        <a:bodyPr/>
        <a:lstStyle/>
        <a:p>
          <a:endParaRPr lang="en-US"/>
        </a:p>
      </dgm:t>
    </dgm:pt>
    <dgm:pt modelId="{2C1FFF0D-C694-469B-8DE5-9A94CE5DE8AB}" type="sibTrans" cxnId="{5E6CC725-665E-45AB-8309-204320C8D280}">
      <dgm:prSet/>
      <dgm:spPr/>
      <dgm:t>
        <a:bodyPr/>
        <a:lstStyle/>
        <a:p>
          <a:endParaRPr lang="en-US"/>
        </a:p>
      </dgm:t>
    </dgm:pt>
    <dgm:pt modelId="{708D01CE-1AA4-462D-A541-D25C2707BD0A}" type="pres">
      <dgm:prSet presAssocID="{C8E6A3FF-9C78-4CF4-8AD9-DE3EAE0B156D}" presName="diagram" presStyleCnt="0">
        <dgm:presLayoutVars>
          <dgm:dir/>
          <dgm:resizeHandles val="exact"/>
        </dgm:presLayoutVars>
      </dgm:prSet>
      <dgm:spPr/>
    </dgm:pt>
    <dgm:pt modelId="{90993E03-59E7-438B-88A6-6EB9646D4CD4}" type="pres">
      <dgm:prSet presAssocID="{580CE702-295C-4013-88BE-B6D038159C8D}" presName="node" presStyleLbl="node1" presStyleIdx="0" presStyleCnt="1" custLinFactNeighborY="-24427">
        <dgm:presLayoutVars>
          <dgm:bulletEnabled val="1"/>
        </dgm:presLayoutVars>
      </dgm:prSet>
      <dgm:spPr/>
    </dgm:pt>
  </dgm:ptLst>
  <dgm:cxnLst>
    <dgm:cxn modelId="{5E6CC725-665E-45AB-8309-204320C8D280}" srcId="{C8E6A3FF-9C78-4CF4-8AD9-DE3EAE0B156D}" destId="{580CE702-295C-4013-88BE-B6D038159C8D}" srcOrd="0" destOrd="0" parTransId="{B833A4A8-3946-4CE1-B7B6-797D920F8FDC}" sibTransId="{2C1FFF0D-C694-469B-8DE5-9A94CE5DE8AB}"/>
    <dgm:cxn modelId="{EAB59F68-C44B-4200-A34D-398FF7BA694B}" type="presOf" srcId="{580CE702-295C-4013-88BE-B6D038159C8D}" destId="{90993E03-59E7-438B-88A6-6EB9646D4CD4}" srcOrd="0" destOrd="0" presId="urn:microsoft.com/office/officeart/2005/8/layout/default"/>
    <dgm:cxn modelId="{683C7955-5219-4A59-9C63-761E3C1E5E28}" type="presOf" srcId="{C8E6A3FF-9C78-4CF4-8AD9-DE3EAE0B156D}" destId="{708D01CE-1AA4-462D-A541-D25C2707BD0A}" srcOrd="0" destOrd="0" presId="urn:microsoft.com/office/officeart/2005/8/layout/default"/>
    <dgm:cxn modelId="{0C0EF6B1-A294-4366-8D43-9BDD420A2642}" type="presParOf" srcId="{708D01CE-1AA4-462D-A541-D25C2707BD0A}" destId="{90993E03-59E7-438B-88A6-6EB9646D4CD4}" srcOrd="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E424AA7-D6C8-5A42-AB23-545092FB56D8}">
      <dsp:nvSpPr>
        <dsp:cNvPr id="0" name=""/>
        <dsp:cNvSpPr/>
      </dsp:nvSpPr>
      <dsp:spPr>
        <a:xfrm>
          <a:off x="2467899" y="303945"/>
          <a:ext cx="2305259" cy="748471"/>
        </a:xfrm>
        <a:prstGeom prst="roundRect">
          <a:avLst>
            <a:gd name="adj" fmla="val 10000"/>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kern="1200" dirty="0" err="1"/>
            <a:t>HbS</a:t>
          </a:r>
          <a:r>
            <a:rPr lang="en-GB" sz="1600" kern="1200" dirty="0"/>
            <a:t> polymerisation/</a:t>
          </a:r>
        </a:p>
        <a:p>
          <a:pPr marL="0" lvl="0" indent="0" algn="ctr" defTabSz="711200">
            <a:lnSpc>
              <a:spcPct val="90000"/>
            </a:lnSpc>
            <a:spcBef>
              <a:spcPct val="0"/>
            </a:spcBef>
            <a:spcAft>
              <a:spcPct val="35000"/>
            </a:spcAft>
            <a:buNone/>
          </a:pPr>
          <a:r>
            <a:rPr lang="en-GB" sz="1600" kern="1200" dirty="0"/>
            <a:t>Sickling</a:t>
          </a:r>
        </a:p>
      </dsp:txBody>
      <dsp:txXfrm>
        <a:off x="2489821" y="325867"/>
        <a:ext cx="2261415" cy="704627"/>
      </dsp:txXfrm>
    </dsp:sp>
    <dsp:sp modelId="{85124719-A409-CC4F-B135-BB01AF765CE2}">
      <dsp:nvSpPr>
        <dsp:cNvPr id="0" name=""/>
        <dsp:cNvSpPr/>
      </dsp:nvSpPr>
      <dsp:spPr>
        <a:xfrm rot="3600000">
          <a:off x="3497669" y="2022504"/>
          <a:ext cx="2552911" cy="403420"/>
        </a:xfrm>
        <a:prstGeom prst="leftRightArrow">
          <a:avLst>
            <a:gd name="adj1" fmla="val 60000"/>
            <a:gd name="adj2" fmla="val 50000"/>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endParaRPr lang="en-GB" sz="1700" kern="1200"/>
        </a:p>
      </dsp:txBody>
      <dsp:txXfrm>
        <a:off x="3618695" y="2103188"/>
        <a:ext cx="2310859" cy="242052"/>
      </dsp:txXfrm>
    </dsp:sp>
    <dsp:sp modelId="{75E57A18-44E1-9E47-8959-C9CAE0554C68}">
      <dsp:nvSpPr>
        <dsp:cNvPr id="0" name=""/>
        <dsp:cNvSpPr/>
      </dsp:nvSpPr>
      <dsp:spPr>
        <a:xfrm>
          <a:off x="4369778" y="3598094"/>
          <a:ext cx="2305259" cy="748471"/>
        </a:xfrm>
        <a:prstGeom prst="roundRect">
          <a:avLst>
            <a:gd name="adj" fmla="val 10000"/>
          </a:avLst>
        </a:prstGeom>
        <a:gradFill rotWithShape="0">
          <a:gsLst>
            <a:gs pos="0">
              <a:schemeClr val="accent2">
                <a:hueOff val="3221807"/>
                <a:satOff val="-9246"/>
                <a:lumOff val="-14805"/>
                <a:alphaOff val="0"/>
                <a:satMod val="103000"/>
                <a:lumMod val="102000"/>
                <a:tint val="94000"/>
              </a:schemeClr>
            </a:gs>
            <a:gs pos="50000">
              <a:schemeClr val="accent2">
                <a:hueOff val="3221807"/>
                <a:satOff val="-9246"/>
                <a:lumOff val="-14805"/>
                <a:alphaOff val="0"/>
                <a:satMod val="110000"/>
                <a:lumMod val="100000"/>
                <a:shade val="100000"/>
              </a:schemeClr>
            </a:gs>
            <a:gs pos="100000">
              <a:schemeClr val="accent2">
                <a:hueOff val="3221807"/>
                <a:satOff val="-9246"/>
                <a:lumOff val="-14805"/>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kern="1200" dirty="0"/>
            <a:t>Vaso-occlusive process</a:t>
          </a:r>
        </a:p>
      </dsp:txBody>
      <dsp:txXfrm>
        <a:off x="4391700" y="3620016"/>
        <a:ext cx="2261415" cy="704627"/>
      </dsp:txXfrm>
    </dsp:sp>
    <dsp:sp modelId="{3364586D-9FB7-494D-A169-D31729A31A63}">
      <dsp:nvSpPr>
        <dsp:cNvPr id="0" name=""/>
        <dsp:cNvSpPr/>
      </dsp:nvSpPr>
      <dsp:spPr>
        <a:xfrm rot="10800000">
          <a:off x="3021130" y="3770620"/>
          <a:ext cx="1198797" cy="403420"/>
        </a:xfrm>
        <a:prstGeom prst="leftRightArrow">
          <a:avLst>
            <a:gd name="adj1" fmla="val 60000"/>
            <a:gd name="adj2" fmla="val 50000"/>
          </a:avLst>
        </a:prstGeom>
        <a:gradFill rotWithShape="0">
          <a:gsLst>
            <a:gs pos="0">
              <a:schemeClr val="accent2">
                <a:hueOff val="3221807"/>
                <a:satOff val="-9246"/>
                <a:lumOff val="-14805"/>
                <a:alphaOff val="0"/>
                <a:satMod val="103000"/>
                <a:lumMod val="102000"/>
                <a:tint val="94000"/>
              </a:schemeClr>
            </a:gs>
            <a:gs pos="50000">
              <a:schemeClr val="accent2">
                <a:hueOff val="3221807"/>
                <a:satOff val="-9246"/>
                <a:lumOff val="-14805"/>
                <a:alphaOff val="0"/>
                <a:satMod val="110000"/>
                <a:lumMod val="100000"/>
                <a:shade val="100000"/>
              </a:schemeClr>
            </a:gs>
            <a:gs pos="100000">
              <a:schemeClr val="accent2">
                <a:hueOff val="3221807"/>
                <a:satOff val="-9246"/>
                <a:lumOff val="-14805"/>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endParaRPr lang="en-GB" sz="1700" kern="1200"/>
        </a:p>
      </dsp:txBody>
      <dsp:txXfrm rot="10800000">
        <a:off x="3142156" y="3851304"/>
        <a:ext cx="956745" cy="242052"/>
      </dsp:txXfrm>
    </dsp:sp>
    <dsp:sp modelId="{23D5937B-FF6F-D44E-9038-CD9F062D723F}">
      <dsp:nvSpPr>
        <dsp:cNvPr id="0" name=""/>
        <dsp:cNvSpPr/>
      </dsp:nvSpPr>
      <dsp:spPr>
        <a:xfrm>
          <a:off x="566021" y="3598094"/>
          <a:ext cx="2305259" cy="748471"/>
        </a:xfrm>
        <a:prstGeom prst="roundRect">
          <a:avLst>
            <a:gd name="adj" fmla="val 10000"/>
          </a:avLst>
        </a:prstGeom>
        <a:gradFill rotWithShape="0">
          <a:gsLst>
            <a:gs pos="0">
              <a:schemeClr val="accent2">
                <a:hueOff val="6443614"/>
                <a:satOff val="-18493"/>
                <a:lumOff val="-29609"/>
                <a:alphaOff val="0"/>
                <a:satMod val="103000"/>
                <a:lumMod val="102000"/>
                <a:tint val="94000"/>
              </a:schemeClr>
            </a:gs>
            <a:gs pos="50000">
              <a:schemeClr val="accent2">
                <a:hueOff val="6443614"/>
                <a:satOff val="-18493"/>
                <a:lumOff val="-29609"/>
                <a:alphaOff val="0"/>
                <a:satMod val="110000"/>
                <a:lumMod val="100000"/>
                <a:shade val="100000"/>
              </a:schemeClr>
            </a:gs>
            <a:gs pos="100000">
              <a:schemeClr val="accent2">
                <a:hueOff val="6443614"/>
                <a:satOff val="-18493"/>
                <a:lumOff val="-29609"/>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GB" sz="1600" kern="1200" dirty="0"/>
            <a:t>Intravascular </a:t>
          </a:r>
          <a:r>
            <a:rPr lang="en-GB" sz="1600" kern="1200" dirty="0" err="1"/>
            <a:t>hemolysis</a:t>
          </a:r>
          <a:endParaRPr lang="en-GB" sz="1600" kern="1200" dirty="0"/>
        </a:p>
      </dsp:txBody>
      <dsp:txXfrm>
        <a:off x="587943" y="3620016"/>
        <a:ext cx="2261415" cy="704627"/>
      </dsp:txXfrm>
    </dsp:sp>
    <dsp:sp modelId="{AE81906A-23E7-ED4D-8D05-18BB6CA3D7B9}">
      <dsp:nvSpPr>
        <dsp:cNvPr id="0" name=""/>
        <dsp:cNvSpPr/>
      </dsp:nvSpPr>
      <dsp:spPr>
        <a:xfrm rot="18000000">
          <a:off x="1053473" y="2022504"/>
          <a:ext cx="2522953" cy="403420"/>
        </a:xfrm>
        <a:prstGeom prst="leftRightArrow">
          <a:avLst>
            <a:gd name="adj1" fmla="val 60000"/>
            <a:gd name="adj2" fmla="val 50000"/>
          </a:avLst>
        </a:prstGeom>
        <a:gradFill rotWithShape="0">
          <a:gsLst>
            <a:gs pos="0">
              <a:schemeClr val="accent2">
                <a:hueOff val="6443614"/>
                <a:satOff val="-18493"/>
                <a:lumOff val="-29609"/>
                <a:alphaOff val="0"/>
                <a:satMod val="103000"/>
                <a:lumMod val="102000"/>
                <a:tint val="94000"/>
              </a:schemeClr>
            </a:gs>
            <a:gs pos="50000">
              <a:schemeClr val="accent2">
                <a:hueOff val="6443614"/>
                <a:satOff val="-18493"/>
                <a:lumOff val="-29609"/>
                <a:alphaOff val="0"/>
                <a:satMod val="110000"/>
                <a:lumMod val="100000"/>
                <a:shade val="100000"/>
              </a:schemeClr>
            </a:gs>
            <a:gs pos="100000">
              <a:schemeClr val="accent2">
                <a:hueOff val="6443614"/>
                <a:satOff val="-18493"/>
                <a:lumOff val="-29609"/>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755650">
            <a:lnSpc>
              <a:spcPct val="90000"/>
            </a:lnSpc>
            <a:spcBef>
              <a:spcPct val="0"/>
            </a:spcBef>
            <a:spcAft>
              <a:spcPct val="35000"/>
            </a:spcAft>
            <a:buNone/>
          </a:pPr>
          <a:endParaRPr lang="en-GB" sz="1700" kern="1200"/>
        </a:p>
      </dsp:txBody>
      <dsp:txXfrm>
        <a:off x="1174499" y="2103188"/>
        <a:ext cx="2280901" cy="242052"/>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4C67CC-32D3-4D0D-BB66-C56021D16521}">
      <dsp:nvSpPr>
        <dsp:cNvPr id="0" name=""/>
        <dsp:cNvSpPr/>
      </dsp:nvSpPr>
      <dsp:spPr>
        <a:xfrm>
          <a:off x="916502" y="0"/>
          <a:ext cx="8771495" cy="5262897"/>
        </a:xfrm>
        <a:prstGeom prst="rect">
          <a:avLst/>
        </a:prstGeom>
        <a:solidFill>
          <a:srgbClr val="002060"/>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marL="0" lvl="0" indent="0" algn="ctr" defTabSz="1778000">
            <a:lnSpc>
              <a:spcPct val="90000"/>
            </a:lnSpc>
            <a:spcBef>
              <a:spcPct val="0"/>
            </a:spcBef>
            <a:spcAft>
              <a:spcPct val="35000"/>
            </a:spcAft>
            <a:buNone/>
          </a:pPr>
          <a:r>
            <a:rPr lang="en-US" sz="4000" kern="1200" dirty="0"/>
            <a:t>Elevated Tricuspid Jet Velocity or NT-BNP</a:t>
          </a:r>
        </a:p>
        <a:p>
          <a:pPr marL="0" lvl="0" indent="0" algn="ctr" defTabSz="1778000">
            <a:lnSpc>
              <a:spcPct val="90000"/>
            </a:lnSpc>
            <a:spcBef>
              <a:spcPct val="0"/>
            </a:spcBef>
            <a:spcAft>
              <a:spcPct val="35000"/>
            </a:spcAft>
            <a:buNone/>
          </a:pPr>
          <a:endParaRPr lang="en-US" sz="4000" kern="1200" dirty="0"/>
        </a:p>
        <a:p>
          <a:pPr marL="0" lvl="0" indent="0" algn="l" defTabSz="1778000">
            <a:lnSpc>
              <a:spcPct val="90000"/>
            </a:lnSpc>
            <a:spcBef>
              <a:spcPct val="0"/>
            </a:spcBef>
            <a:spcAft>
              <a:spcPct val="35000"/>
            </a:spcAft>
            <a:buNone/>
          </a:pPr>
          <a:r>
            <a:rPr lang="en-US" sz="3600" kern="1200" dirty="0">
              <a:latin typeface="+mn-lt"/>
            </a:rPr>
            <a:t>-Standard care</a:t>
          </a:r>
        </a:p>
        <a:p>
          <a:pPr marL="0" lvl="0" indent="0" algn="l" defTabSz="1778000">
            <a:lnSpc>
              <a:spcPct val="90000"/>
            </a:lnSpc>
            <a:spcBef>
              <a:spcPct val="0"/>
            </a:spcBef>
            <a:spcAft>
              <a:spcPct val="35000"/>
            </a:spcAft>
            <a:buNone/>
          </a:pPr>
          <a:r>
            <a:rPr lang="en-US" sz="3600" kern="1200" dirty="0">
              <a:latin typeface="+mn-lt"/>
            </a:rPr>
            <a:t>-Echocardiogram if symptomatic</a:t>
          </a:r>
        </a:p>
        <a:p>
          <a:pPr marL="0" lvl="0" indent="0" algn="l" defTabSz="1778000">
            <a:lnSpc>
              <a:spcPct val="90000"/>
            </a:lnSpc>
            <a:spcBef>
              <a:spcPct val="0"/>
            </a:spcBef>
            <a:spcAft>
              <a:spcPct val="35000"/>
            </a:spcAft>
            <a:buNone/>
          </a:pPr>
          <a:r>
            <a:rPr lang="en-US" sz="3600" kern="1200" dirty="0">
              <a:latin typeface="+mn-lt"/>
            </a:rPr>
            <a:t>-Referral if TRV </a:t>
          </a:r>
          <a:r>
            <a:rPr lang="en-US" sz="3600" kern="1200" dirty="0">
              <a:latin typeface="+mn-lt"/>
              <a:cs typeface="Calibri" panose="020F0502020204030204" pitchFamily="34" charset="0"/>
            </a:rPr>
            <a:t>≥2.5 m/sec</a:t>
          </a:r>
          <a:endParaRPr lang="en-US" sz="3600" kern="1200" dirty="0">
            <a:latin typeface="+mn-lt"/>
          </a:endParaRPr>
        </a:p>
      </dsp:txBody>
      <dsp:txXfrm>
        <a:off x="916502" y="0"/>
        <a:ext cx="8771495" cy="5262897"/>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DD5DB10-D680-4C51-A853-A4B7C87D1A4E}">
      <dsp:nvSpPr>
        <dsp:cNvPr id="0" name=""/>
        <dsp:cNvSpPr/>
      </dsp:nvSpPr>
      <dsp:spPr>
        <a:xfrm>
          <a:off x="916502" y="0"/>
          <a:ext cx="8771495" cy="5262897"/>
        </a:xfrm>
        <a:prstGeom prst="rect">
          <a:avLst/>
        </a:prstGeom>
        <a:solidFill>
          <a:srgbClr val="002060"/>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marL="0" lvl="0" indent="0" algn="ctr" defTabSz="1778000">
            <a:lnSpc>
              <a:spcPct val="90000"/>
            </a:lnSpc>
            <a:spcBef>
              <a:spcPct val="0"/>
            </a:spcBef>
            <a:spcAft>
              <a:spcPct val="35000"/>
            </a:spcAft>
            <a:buNone/>
          </a:pPr>
          <a:r>
            <a:rPr lang="en-US" sz="4000" kern="1200" dirty="0"/>
            <a:t>Renal</a:t>
          </a:r>
        </a:p>
        <a:p>
          <a:pPr marL="0" lvl="0" indent="0" algn="ctr" defTabSz="1778000">
            <a:lnSpc>
              <a:spcPct val="90000"/>
            </a:lnSpc>
            <a:spcBef>
              <a:spcPct val="0"/>
            </a:spcBef>
            <a:spcAft>
              <a:spcPct val="35000"/>
            </a:spcAft>
            <a:buNone/>
          </a:pPr>
          <a:endParaRPr lang="en-US" sz="4000" kern="1200" dirty="0">
            <a:latin typeface="+mn-lt"/>
          </a:endParaRPr>
        </a:p>
        <a:p>
          <a:pPr marL="0" lvl="0" indent="0" algn="l" defTabSz="1778000">
            <a:lnSpc>
              <a:spcPct val="90000"/>
            </a:lnSpc>
            <a:spcBef>
              <a:spcPct val="0"/>
            </a:spcBef>
            <a:spcAft>
              <a:spcPct val="35000"/>
            </a:spcAft>
            <a:buNone/>
          </a:pPr>
          <a:r>
            <a:rPr lang="en-US" sz="3600" kern="1200" dirty="0">
              <a:latin typeface="+mn-lt"/>
            </a:rPr>
            <a:t>-Screen for proteinuria beginning at age </a:t>
          </a:r>
          <a:r>
            <a:rPr lang="en-US" sz="3600" kern="1200">
              <a:latin typeface="+mn-lt"/>
            </a:rPr>
            <a:t>5-6</a:t>
          </a:r>
          <a:r>
            <a:rPr lang="en-US" sz="3600" kern="1200">
              <a:latin typeface="+mn-lt"/>
              <a:cs typeface="Calibri" panose="020F0502020204030204" pitchFamily="34" charset="0"/>
            </a:rPr>
            <a:t> years</a:t>
          </a:r>
          <a:endParaRPr lang="en-US" sz="3600" kern="1200" dirty="0">
            <a:latin typeface="+mn-lt"/>
          </a:endParaRPr>
        </a:p>
        <a:p>
          <a:pPr marL="0" lvl="0" indent="0" algn="l" defTabSz="1778000">
            <a:lnSpc>
              <a:spcPct val="90000"/>
            </a:lnSpc>
            <a:spcBef>
              <a:spcPct val="0"/>
            </a:spcBef>
            <a:spcAft>
              <a:spcPct val="35000"/>
            </a:spcAft>
            <a:buNone/>
          </a:pPr>
          <a:r>
            <a:rPr lang="en-US" sz="3600" kern="1200" dirty="0">
              <a:latin typeface="+mn-lt"/>
            </a:rPr>
            <a:t>-ACE-I or ARB if albuminuria</a:t>
          </a:r>
        </a:p>
      </dsp:txBody>
      <dsp:txXfrm>
        <a:off x="916502" y="0"/>
        <a:ext cx="8771495" cy="5262897"/>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54459C7-5EC2-4ADB-B203-40EC0C64A368}">
      <dsp:nvSpPr>
        <dsp:cNvPr id="0" name=""/>
        <dsp:cNvSpPr/>
      </dsp:nvSpPr>
      <dsp:spPr>
        <a:xfrm>
          <a:off x="927563" y="955809"/>
          <a:ext cx="1126276" cy="1078828"/>
        </a:xfrm>
        <a:prstGeom prst="rect">
          <a:avLst/>
        </a:prstGeom>
        <a:blipFill rotWithShape="1">
          <a:blip xmlns:r="http://schemas.openxmlformats.org/officeDocument/2006/relationships" r:embed="rId1"/>
          <a:stretch>
            <a:fillRect/>
          </a:stretch>
        </a:blip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CD54B3B-D872-4FC5-8E8E-90EFA97E5945}">
      <dsp:nvSpPr>
        <dsp:cNvPr id="0" name=""/>
        <dsp:cNvSpPr/>
      </dsp:nvSpPr>
      <dsp:spPr>
        <a:xfrm>
          <a:off x="301202" y="1403933"/>
          <a:ext cx="738841" cy="738841"/>
        </a:xfrm>
        <a:prstGeom prst="rect">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IN" sz="1600" b="1" kern="1200" dirty="0">
              <a:solidFill>
                <a:schemeClr val="tx1"/>
              </a:solidFill>
            </a:rPr>
            <a:t>THERMOMETER</a:t>
          </a:r>
        </a:p>
      </dsp:txBody>
      <dsp:txXfrm>
        <a:off x="301202" y="1403933"/>
        <a:ext cx="738841" cy="738841"/>
      </dsp:txXfrm>
    </dsp:sp>
    <dsp:sp modelId="{1670C910-1462-402A-B9A9-E4DBD1BC4F09}">
      <dsp:nvSpPr>
        <dsp:cNvPr id="0" name=""/>
        <dsp:cNvSpPr/>
      </dsp:nvSpPr>
      <dsp:spPr>
        <a:xfrm>
          <a:off x="2789475" y="932112"/>
          <a:ext cx="1363266" cy="1146604"/>
        </a:xfrm>
        <a:prstGeom prst="rect">
          <a:avLst/>
        </a:prstGeom>
        <a:blipFill rotWithShape="1">
          <a:blip xmlns:r="http://schemas.openxmlformats.org/officeDocument/2006/relationships" r:embed="rId2"/>
          <a:stretch>
            <a:fillRect/>
          </a:stretch>
        </a:blip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778B364-1BE6-4B0B-A1D3-3E8DA8632936}">
      <dsp:nvSpPr>
        <dsp:cNvPr id="0" name=""/>
        <dsp:cNvSpPr/>
      </dsp:nvSpPr>
      <dsp:spPr>
        <a:xfrm>
          <a:off x="2293293" y="1420877"/>
          <a:ext cx="738841" cy="738841"/>
        </a:xfrm>
        <a:prstGeom prst="rect">
          <a:avLst/>
        </a:prstGeom>
        <a:solidFill>
          <a:schemeClr val="accent3">
            <a:hueOff val="686194"/>
            <a:satOff val="4119"/>
            <a:lumOff val="3138"/>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IN" sz="1800" b="1" kern="1200" dirty="0">
              <a:solidFill>
                <a:schemeClr val="tx1"/>
              </a:solidFill>
            </a:rPr>
            <a:t>MASK</a:t>
          </a:r>
        </a:p>
      </dsp:txBody>
      <dsp:txXfrm>
        <a:off x="2293293" y="1420877"/>
        <a:ext cx="738841" cy="738841"/>
      </dsp:txXfrm>
    </dsp:sp>
    <dsp:sp modelId="{32DBCF44-EAFB-4D42-90BE-EA958F4593F0}">
      <dsp:nvSpPr>
        <dsp:cNvPr id="0" name=""/>
        <dsp:cNvSpPr/>
      </dsp:nvSpPr>
      <dsp:spPr>
        <a:xfrm>
          <a:off x="4911744" y="938865"/>
          <a:ext cx="1363266" cy="1146604"/>
        </a:xfrm>
        <a:prstGeom prst="rect">
          <a:avLst/>
        </a:prstGeom>
        <a:blipFill rotWithShape="1">
          <a:blip xmlns:r="http://schemas.openxmlformats.org/officeDocument/2006/relationships" r:embed="rId3"/>
          <a:stretch>
            <a:fillRect/>
          </a:stretch>
        </a:blip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4FC455C-F48C-4B8C-8D19-654F2DAD05BA}">
      <dsp:nvSpPr>
        <dsp:cNvPr id="0" name=""/>
        <dsp:cNvSpPr/>
      </dsp:nvSpPr>
      <dsp:spPr>
        <a:xfrm>
          <a:off x="4403879" y="1420877"/>
          <a:ext cx="738841" cy="738841"/>
        </a:xfrm>
        <a:prstGeom prst="rect">
          <a:avLst/>
        </a:prstGeom>
        <a:solidFill>
          <a:schemeClr val="accent3">
            <a:hueOff val="1372388"/>
            <a:satOff val="8237"/>
            <a:lumOff val="6275"/>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IN" sz="1600" b="1" kern="1200" dirty="0">
              <a:solidFill>
                <a:schemeClr val="tx1"/>
              </a:solidFill>
            </a:rPr>
            <a:t>PULSE OXIMETER</a:t>
          </a:r>
        </a:p>
      </dsp:txBody>
      <dsp:txXfrm>
        <a:off x="4403879" y="1420877"/>
        <a:ext cx="738841" cy="738841"/>
      </dsp:txXfrm>
    </dsp:sp>
    <dsp:sp modelId="{C21B8CAA-83E9-4B68-BBD1-5D679A6D7573}">
      <dsp:nvSpPr>
        <dsp:cNvPr id="0" name=""/>
        <dsp:cNvSpPr/>
      </dsp:nvSpPr>
      <dsp:spPr>
        <a:xfrm>
          <a:off x="7022330" y="938865"/>
          <a:ext cx="1363266" cy="1146604"/>
        </a:xfrm>
        <a:prstGeom prst="rect">
          <a:avLst/>
        </a:prstGeom>
        <a:blipFill rotWithShape="1">
          <a:blip xmlns:r="http://schemas.openxmlformats.org/officeDocument/2006/relationships" r:embed="rId4"/>
          <a:stretch>
            <a:fillRect/>
          </a:stretch>
        </a:blip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347C370-0649-4145-9408-D29A553B7377}">
      <dsp:nvSpPr>
        <dsp:cNvPr id="0" name=""/>
        <dsp:cNvSpPr/>
      </dsp:nvSpPr>
      <dsp:spPr>
        <a:xfrm>
          <a:off x="6514465" y="1420877"/>
          <a:ext cx="738841" cy="738841"/>
        </a:xfrm>
        <a:prstGeom prst="rect">
          <a:avLst/>
        </a:prstGeom>
        <a:solidFill>
          <a:schemeClr val="accent3">
            <a:hueOff val="2058582"/>
            <a:satOff val="12356"/>
            <a:lumOff val="9413"/>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IN" sz="1600" b="1" kern="1200" dirty="0">
              <a:solidFill>
                <a:schemeClr val="tx1"/>
              </a:solidFill>
            </a:rPr>
            <a:t>SPIROMETER</a:t>
          </a:r>
        </a:p>
      </dsp:txBody>
      <dsp:txXfrm>
        <a:off x="6514465" y="1420877"/>
        <a:ext cx="738841" cy="738841"/>
      </dsp:txXfrm>
    </dsp:sp>
    <dsp:sp modelId="{040478E8-3F64-450E-9DAB-DB53C05E8F76}">
      <dsp:nvSpPr>
        <dsp:cNvPr id="0" name=""/>
        <dsp:cNvSpPr/>
      </dsp:nvSpPr>
      <dsp:spPr>
        <a:xfrm>
          <a:off x="1805113" y="2366243"/>
          <a:ext cx="1363266" cy="1146604"/>
        </a:xfrm>
        <a:prstGeom prst="rect">
          <a:avLst/>
        </a:prstGeom>
        <a:blipFill rotWithShape="1">
          <a:blip xmlns:r="http://schemas.openxmlformats.org/officeDocument/2006/relationships" r:embed="rId5"/>
          <a:stretch>
            <a:fillRect/>
          </a:stretch>
        </a:blip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F6C04C0-A95F-482F-AF43-924C263E0838}">
      <dsp:nvSpPr>
        <dsp:cNvPr id="0" name=""/>
        <dsp:cNvSpPr/>
      </dsp:nvSpPr>
      <dsp:spPr>
        <a:xfrm>
          <a:off x="1297247" y="2848255"/>
          <a:ext cx="738841" cy="738841"/>
        </a:xfrm>
        <a:prstGeom prst="rect">
          <a:avLst/>
        </a:prstGeom>
        <a:solidFill>
          <a:schemeClr val="accent3">
            <a:hueOff val="2744775"/>
            <a:satOff val="16475"/>
            <a:lumOff val="1255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IN" sz="1600" b="1" kern="1200" dirty="0">
              <a:solidFill>
                <a:schemeClr val="tx1"/>
              </a:solidFill>
            </a:rPr>
            <a:t>TABLETS</a:t>
          </a:r>
        </a:p>
      </dsp:txBody>
      <dsp:txXfrm>
        <a:off x="1297247" y="2848255"/>
        <a:ext cx="738841" cy="738841"/>
      </dsp:txXfrm>
    </dsp:sp>
    <dsp:sp modelId="{C1D91B36-AB1C-4538-8228-F6D8B64E0C1B}">
      <dsp:nvSpPr>
        <dsp:cNvPr id="0" name=""/>
        <dsp:cNvSpPr/>
      </dsp:nvSpPr>
      <dsp:spPr>
        <a:xfrm>
          <a:off x="3915699" y="2366243"/>
          <a:ext cx="1363266" cy="1146604"/>
        </a:xfrm>
        <a:prstGeom prst="rect">
          <a:avLst/>
        </a:prstGeom>
        <a:blipFill rotWithShape="1">
          <a:blip xmlns:r="http://schemas.openxmlformats.org/officeDocument/2006/relationships" r:embed="rId6"/>
          <a:stretch>
            <a:fillRect/>
          </a:stretch>
        </a:blip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1436FD4-9FC4-4C7A-9C39-8691784F6FDD}">
      <dsp:nvSpPr>
        <dsp:cNvPr id="0" name=""/>
        <dsp:cNvSpPr/>
      </dsp:nvSpPr>
      <dsp:spPr>
        <a:xfrm>
          <a:off x="3407833" y="2848255"/>
          <a:ext cx="738841" cy="738841"/>
        </a:xfrm>
        <a:prstGeom prst="rect">
          <a:avLst/>
        </a:prstGeom>
        <a:solidFill>
          <a:schemeClr val="accent3">
            <a:hueOff val="3430969"/>
            <a:satOff val="20593"/>
            <a:lumOff val="15687"/>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r>
            <a:rPr lang="en-IN" sz="1400" b="1" kern="1200" dirty="0">
              <a:solidFill>
                <a:schemeClr val="tx1"/>
              </a:solidFill>
            </a:rPr>
            <a:t>WATER BOTTLE</a:t>
          </a:r>
        </a:p>
      </dsp:txBody>
      <dsp:txXfrm>
        <a:off x="3407833" y="2848255"/>
        <a:ext cx="738841" cy="738841"/>
      </dsp:txXfrm>
    </dsp:sp>
    <dsp:sp modelId="{3B182F8F-FBDE-47A3-833C-615DCD512553}">
      <dsp:nvSpPr>
        <dsp:cNvPr id="0" name=""/>
        <dsp:cNvSpPr/>
      </dsp:nvSpPr>
      <dsp:spPr>
        <a:xfrm>
          <a:off x="6026285" y="2366243"/>
          <a:ext cx="1363266" cy="1146604"/>
        </a:xfrm>
        <a:prstGeom prst="rect">
          <a:avLst/>
        </a:prstGeom>
        <a:blipFill rotWithShape="1">
          <a:blip xmlns:r="http://schemas.openxmlformats.org/officeDocument/2006/relationships" r:embed="rId7"/>
          <a:stretch>
            <a:fillRect/>
          </a:stretch>
        </a:blip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033F639-0282-4820-AABD-425F1861A59B}">
      <dsp:nvSpPr>
        <dsp:cNvPr id="0" name=""/>
        <dsp:cNvSpPr/>
      </dsp:nvSpPr>
      <dsp:spPr>
        <a:xfrm>
          <a:off x="5518420" y="2848255"/>
          <a:ext cx="738841" cy="738841"/>
        </a:xfrm>
        <a:prstGeom prst="rect">
          <a:avLst/>
        </a:prstGeom>
        <a:solidFill>
          <a:schemeClr val="accent3">
            <a:hueOff val="4117163"/>
            <a:satOff val="24712"/>
            <a:lumOff val="18825"/>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IN" sz="1600" b="1" kern="1200" dirty="0">
              <a:solidFill>
                <a:schemeClr val="tx1"/>
              </a:solidFill>
            </a:rPr>
            <a:t>MARKER</a:t>
          </a:r>
        </a:p>
      </dsp:txBody>
      <dsp:txXfrm>
        <a:off x="5518420" y="2848255"/>
        <a:ext cx="738841" cy="73884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4B20126-B554-4B8F-8050-7376DFFD96A2}">
      <dsp:nvSpPr>
        <dsp:cNvPr id="0" name=""/>
        <dsp:cNvSpPr/>
      </dsp:nvSpPr>
      <dsp:spPr>
        <a:xfrm>
          <a:off x="2672" y="130852"/>
          <a:ext cx="2143683" cy="1071841"/>
        </a:xfrm>
        <a:prstGeom prst="roundRect">
          <a:avLst>
            <a:gd name="adj" fmla="val 10000"/>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0480" rIns="45720" bIns="30480" numCol="1" spcCol="1270" anchor="ctr" anchorCtr="0">
          <a:noAutofit/>
        </a:bodyPr>
        <a:lstStyle/>
        <a:p>
          <a:pPr marL="0" lvl="0" indent="0" algn="ctr" defTabSz="1066800">
            <a:lnSpc>
              <a:spcPct val="90000"/>
            </a:lnSpc>
            <a:spcBef>
              <a:spcPct val="0"/>
            </a:spcBef>
            <a:spcAft>
              <a:spcPct val="35000"/>
            </a:spcAft>
            <a:buNone/>
          </a:pPr>
          <a:r>
            <a:rPr lang="en-US" sz="2400" kern="1200" dirty="0"/>
            <a:t>Health Maintenance</a:t>
          </a:r>
        </a:p>
      </dsp:txBody>
      <dsp:txXfrm>
        <a:off x="34065" y="162245"/>
        <a:ext cx="2080897" cy="1009055"/>
      </dsp:txXfrm>
    </dsp:sp>
    <dsp:sp modelId="{2D058EC7-A617-478D-AE64-24E073CCDE9C}">
      <dsp:nvSpPr>
        <dsp:cNvPr id="0" name=""/>
        <dsp:cNvSpPr/>
      </dsp:nvSpPr>
      <dsp:spPr>
        <a:xfrm>
          <a:off x="217040" y="1202694"/>
          <a:ext cx="214368" cy="1144796"/>
        </a:xfrm>
        <a:custGeom>
          <a:avLst/>
          <a:gdLst/>
          <a:ahLst/>
          <a:cxnLst/>
          <a:rect l="0" t="0" r="0" b="0"/>
          <a:pathLst>
            <a:path>
              <a:moveTo>
                <a:pt x="0" y="0"/>
              </a:moveTo>
              <a:lnTo>
                <a:pt x="0" y="1144796"/>
              </a:lnTo>
              <a:lnTo>
                <a:pt x="214368" y="1144796"/>
              </a:lnTo>
            </a:path>
          </a:pathLst>
        </a:custGeom>
        <a:noFill/>
        <a:ln w="1905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9261A78-3613-4F92-960C-DE4FFD2BA68E}">
      <dsp:nvSpPr>
        <dsp:cNvPr id="0" name=""/>
        <dsp:cNvSpPr/>
      </dsp:nvSpPr>
      <dsp:spPr>
        <a:xfrm>
          <a:off x="431408" y="1470654"/>
          <a:ext cx="2042707" cy="1753672"/>
        </a:xfrm>
        <a:prstGeom prst="roundRect">
          <a:avLst>
            <a:gd name="adj" fmla="val 10000"/>
          </a:avLst>
        </a:prstGeom>
        <a:solidFill>
          <a:schemeClr val="lt1">
            <a:alpha val="90000"/>
            <a:hueOff val="0"/>
            <a:satOff val="0"/>
            <a:lumOff val="0"/>
            <a:alphaOff val="0"/>
          </a:schemeClr>
        </a:solidFill>
        <a:ln w="1905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l" defTabSz="711200">
            <a:lnSpc>
              <a:spcPct val="90000"/>
            </a:lnSpc>
            <a:spcBef>
              <a:spcPct val="0"/>
            </a:spcBef>
            <a:spcAft>
              <a:spcPct val="35000"/>
            </a:spcAft>
            <a:buNone/>
          </a:pPr>
          <a:r>
            <a:rPr lang="en-US" sz="1600" kern="1200" dirty="0"/>
            <a:t>-Routine health visits</a:t>
          </a:r>
        </a:p>
        <a:p>
          <a:pPr marL="0" lvl="0" indent="0" algn="l" defTabSz="711200">
            <a:lnSpc>
              <a:spcPct val="90000"/>
            </a:lnSpc>
            <a:spcBef>
              <a:spcPct val="0"/>
            </a:spcBef>
            <a:spcAft>
              <a:spcPct val="35000"/>
            </a:spcAft>
            <a:buNone/>
          </a:pPr>
          <a:r>
            <a:rPr lang="en-US" sz="1600" kern="1200" dirty="0"/>
            <a:t>-Screening</a:t>
          </a:r>
        </a:p>
        <a:p>
          <a:pPr marL="0" lvl="0" indent="0" algn="l" defTabSz="711200">
            <a:lnSpc>
              <a:spcPct val="90000"/>
            </a:lnSpc>
            <a:spcBef>
              <a:spcPct val="0"/>
            </a:spcBef>
            <a:spcAft>
              <a:spcPct val="35000"/>
            </a:spcAft>
            <a:buNone/>
          </a:pPr>
          <a:r>
            <a:rPr lang="en-US" sz="1600" kern="1200" dirty="0"/>
            <a:t>-Education</a:t>
          </a:r>
        </a:p>
        <a:p>
          <a:pPr marL="0" lvl="0" indent="0" algn="l" defTabSz="711200">
            <a:lnSpc>
              <a:spcPct val="90000"/>
            </a:lnSpc>
            <a:spcBef>
              <a:spcPct val="0"/>
            </a:spcBef>
            <a:spcAft>
              <a:spcPct val="35000"/>
            </a:spcAft>
            <a:buNone/>
          </a:pPr>
          <a:r>
            <a:rPr lang="en-US" sz="1600" kern="1200" dirty="0"/>
            <a:t>-Ongoing support</a:t>
          </a:r>
        </a:p>
        <a:p>
          <a:pPr marL="0" lvl="0" indent="0" algn="l" defTabSz="711200">
            <a:lnSpc>
              <a:spcPct val="90000"/>
            </a:lnSpc>
            <a:spcBef>
              <a:spcPct val="0"/>
            </a:spcBef>
            <a:spcAft>
              <a:spcPct val="35000"/>
            </a:spcAft>
            <a:buNone/>
          </a:pPr>
          <a:r>
            <a:rPr lang="en-US" sz="1600" kern="1200" dirty="0"/>
            <a:t>-Lab monitoring</a:t>
          </a:r>
        </a:p>
      </dsp:txBody>
      <dsp:txXfrm>
        <a:off x="482771" y="1522017"/>
        <a:ext cx="1939981" cy="1650946"/>
      </dsp:txXfrm>
    </dsp:sp>
    <dsp:sp modelId="{751C3339-B7D5-487B-B762-7022B7585246}">
      <dsp:nvSpPr>
        <dsp:cNvPr id="0" name=""/>
        <dsp:cNvSpPr/>
      </dsp:nvSpPr>
      <dsp:spPr>
        <a:xfrm>
          <a:off x="2682276" y="130852"/>
          <a:ext cx="2143683" cy="1071841"/>
        </a:xfrm>
        <a:prstGeom prst="roundRect">
          <a:avLst>
            <a:gd name="adj" fmla="val 10000"/>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0480" rIns="45720" bIns="30480" numCol="1" spcCol="1270" anchor="ctr" anchorCtr="0">
          <a:noAutofit/>
        </a:bodyPr>
        <a:lstStyle/>
        <a:p>
          <a:pPr marL="0" lvl="0" indent="0" algn="ctr" defTabSz="1066800">
            <a:lnSpc>
              <a:spcPct val="90000"/>
            </a:lnSpc>
            <a:spcBef>
              <a:spcPct val="0"/>
            </a:spcBef>
            <a:spcAft>
              <a:spcPct val="35000"/>
            </a:spcAft>
            <a:buNone/>
          </a:pPr>
          <a:r>
            <a:rPr lang="en-US" sz="2400" kern="1200" dirty="0"/>
            <a:t>Acute Complications</a:t>
          </a:r>
        </a:p>
      </dsp:txBody>
      <dsp:txXfrm>
        <a:off x="2713669" y="162245"/>
        <a:ext cx="2080897" cy="1009055"/>
      </dsp:txXfrm>
    </dsp:sp>
    <dsp:sp modelId="{5C64A40C-C3F1-4E90-9876-76B076B3DA5E}">
      <dsp:nvSpPr>
        <dsp:cNvPr id="0" name=""/>
        <dsp:cNvSpPr/>
      </dsp:nvSpPr>
      <dsp:spPr>
        <a:xfrm>
          <a:off x="2896644" y="1202694"/>
          <a:ext cx="214368" cy="1144796"/>
        </a:xfrm>
        <a:custGeom>
          <a:avLst/>
          <a:gdLst/>
          <a:ahLst/>
          <a:cxnLst/>
          <a:rect l="0" t="0" r="0" b="0"/>
          <a:pathLst>
            <a:path>
              <a:moveTo>
                <a:pt x="0" y="0"/>
              </a:moveTo>
              <a:lnTo>
                <a:pt x="0" y="1144796"/>
              </a:lnTo>
              <a:lnTo>
                <a:pt x="214368" y="1144796"/>
              </a:lnTo>
            </a:path>
          </a:pathLst>
        </a:custGeom>
        <a:noFill/>
        <a:ln w="1905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BFB8BF4-D750-49AB-BA4E-8179108DEC66}">
      <dsp:nvSpPr>
        <dsp:cNvPr id="0" name=""/>
        <dsp:cNvSpPr/>
      </dsp:nvSpPr>
      <dsp:spPr>
        <a:xfrm>
          <a:off x="3111012" y="1470654"/>
          <a:ext cx="2042707" cy="1753672"/>
        </a:xfrm>
        <a:prstGeom prst="roundRect">
          <a:avLst>
            <a:gd name="adj" fmla="val 10000"/>
          </a:avLst>
        </a:prstGeom>
        <a:solidFill>
          <a:schemeClr val="lt1">
            <a:alpha val="90000"/>
            <a:hueOff val="0"/>
            <a:satOff val="0"/>
            <a:lumOff val="0"/>
            <a:alphaOff val="0"/>
          </a:schemeClr>
        </a:solidFill>
        <a:ln w="1905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en-US" sz="1600" kern="1200" dirty="0"/>
            <a:t>Prevention</a:t>
          </a:r>
        </a:p>
        <a:p>
          <a:pPr marL="0" lvl="0" indent="0" algn="ctr" defTabSz="711200">
            <a:lnSpc>
              <a:spcPct val="90000"/>
            </a:lnSpc>
            <a:spcBef>
              <a:spcPct val="0"/>
            </a:spcBef>
            <a:spcAft>
              <a:spcPct val="35000"/>
            </a:spcAft>
            <a:buNone/>
          </a:pPr>
          <a:r>
            <a:rPr lang="en-US" sz="1600" kern="1200" dirty="0"/>
            <a:t>&amp;</a:t>
          </a:r>
        </a:p>
        <a:p>
          <a:pPr marL="0" lvl="0" indent="0" algn="ctr" defTabSz="711200">
            <a:lnSpc>
              <a:spcPct val="90000"/>
            </a:lnSpc>
            <a:spcBef>
              <a:spcPct val="0"/>
            </a:spcBef>
            <a:spcAft>
              <a:spcPct val="35000"/>
            </a:spcAft>
            <a:buNone/>
          </a:pPr>
          <a:r>
            <a:rPr lang="en-US" sz="1600" kern="1200" dirty="0"/>
            <a:t>Treatment</a:t>
          </a:r>
        </a:p>
      </dsp:txBody>
      <dsp:txXfrm>
        <a:off x="3162375" y="1522017"/>
        <a:ext cx="1939981" cy="1650946"/>
      </dsp:txXfrm>
    </dsp:sp>
    <dsp:sp modelId="{8AB7D00A-1608-47BA-B0BA-2B2008594BD6}">
      <dsp:nvSpPr>
        <dsp:cNvPr id="0" name=""/>
        <dsp:cNvSpPr/>
      </dsp:nvSpPr>
      <dsp:spPr>
        <a:xfrm>
          <a:off x="5361880" y="130852"/>
          <a:ext cx="2143683" cy="1071841"/>
        </a:xfrm>
        <a:prstGeom prst="roundRect">
          <a:avLst>
            <a:gd name="adj" fmla="val 10000"/>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0480" rIns="45720" bIns="30480" numCol="1" spcCol="1270" anchor="ctr" anchorCtr="0">
          <a:noAutofit/>
        </a:bodyPr>
        <a:lstStyle/>
        <a:p>
          <a:pPr marL="0" lvl="0" indent="0" algn="ctr" defTabSz="1066800">
            <a:lnSpc>
              <a:spcPct val="90000"/>
            </a:lnSpc>
            <a:spcBef>
              <a:spcPct val="0"/>
            </a:spcBef>
            <a:spcAft>
              <a:spcPct val="35000"/>
            </a:spcAft>
            <a:buNone/>
          </a:pPr>
          <a:r>
            <a:rPr lang="en-US" sz="2400" kern="1200" dirty="0"/>
            <a:t>Chronic Complications</a:t>
          </a:r>
        </a:p>
      </dsp:txBody>
      <dsp:txXfrm>
        <a:off x="5393273" y="162245"/>
        <a:ext cx="2080897" cy="1009055"/>
      </dsp:txXfrm>
    </dsp:sp>
    <dsp:sp modelId="{A9E25201-0E97-4911-AE9F-FB4039384053}">
      <dsp:nvSpPr>
        <dsp:cNvPr id="0" name=""/>
        <dsp:cNvSpPr/>
      </dsp:nvSpPr>
      <dsp:spPr>
        <a:xfrm>
          <a:off x="5576248" y="1202694"/>
          <a:ext cx="214368" cy="1144796"/>
        </a:xfrm>
        <a:custGeom>
          <a:avLst/>
          <a:gdLst/>
          <a:ahLst/>
          <a:cxnLst/>
          <a:rect l="0" t="0" r="0" b="0"/>
          <a:pathLst>
            <a:path>
              <a:moveTo>
                <a:pt x="0" y="0"/>
              </a:moveTo>
              <a:lnTo>
                <a:pt x="0" y="1144796"/>
              </a:lnTo>
              <a:lnTo>
                <a:pt x="214368" y="1144796"/>
              </a:lnTo>
            </a:path>
          </a:pathLst>
        </a:custGeom>
        <a:noFill/>
        <a:ln w="1905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526B987F-EBBE-4C9F-811E-ADFD7E5C3FC0}">
      <dsp:nvSpPr>
        <dsp:cNvPr id="0" name=""/>
        <dsp:cNvSpPr/>
      </dsp:nvSpPr>
      <dsp:spPr>
        <a:xfrm>
          <a:off x="5790616" y="1470654"/>
          <a:ext cx="2042707" cy="1753672"/>
        </a:xfrm>
        <a:prstGeom prst="roundRect">
          <a:avLst>
            <a:gd name="adj" fmla="val 10000"/>
          </a:avLst>
        </a:prstGeom>
        <a:solidFill>
          <a:schemeClr val="lt1">
            <a:alpha val="90000"/>
            <a:hueOff val="0"/>
            <a:satOff val="0"/>
            <a:lumOff val="0"/>
            <a:alphaOff val="0"/>
          </a:schemeClr>
        </a:solidFill>
        <a:ln w="1905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en-US" sz="1600" kern="1200" dirty="0"/>
            <a:t>Prevention</a:t>
          </a:r>
        </a:p>
        <a:p>
          <a:pPr marL="0" lvl="0" indent="0" algn="ctr" defTabSz="711200">
            <a:lnSpc>
              <a:spcPct val="90000"/>
            </a:lnSpc>
            <a:spcBef>
              <a:spcPct val="0"/>
            </a:spcBef>
            <a:spcAft>
              <a:spcPct val="35000"/>
            </a:spcAft>
            <a:buNone/>
          </a:pPr>
          <a:r>
            <a:rPr lang="en-US" sz="1600" kern="1200" dirty="0"/>
            <a:t>&amp;</a:t>
          </a:r>
        </a:p>
        <a:p>
          <a:pPr marL="0" lvl="0" indent="0" algn="ctr" defTabSz="711200">
            <a:lnSpc>
              <a:spcPct val="90000"/>
            </a:lnSpc>
            <a:spcBef>
              <a:spcPct val="0"/>
            </a:spcBef>
            <a:spcAft>
              <a:spcPct val="35000"/>
            </a:spcAft>
            <a:buNone/>
          </a:pPr>
          <a:r>
            <a:rPr lang="en-US" sz="1600" kern="1200" dirty="0"/>
            <a:t>Treatment</a:t>
          </a:r>
        </a:p>
      </dsp:txBody>
      <dsp:txXfrm>
        <a:off x="5841979" y="1522017"/>
        <a:ext cx="1939981" cy="1650946"/>
      </dsp:txXfrm>
    </dsp:sp>
    <dsp:sp modelId="{04457612-9C00-40DE-8632-BE00C06A350C}">
      <dsp:nvSpPr>
        <dsp:cNvPr id="0" name=""/>
        <dsp:cNvSpPr/>
      </dsp:nvSpPr>
      <dsp:spPr>
        <a:xfrm>
          <a:off x="8041483" y="130852"/>
          <a:ext cx="2143683" cy="1071841"/>
        </a:xfrm>
        <a:prstGeom prst="roundRect">
          <a:avLst>
            <a:gd name="adj" fmla="val 10000"/>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30480" rIns="45720" bIns="30480" numCol="1" spcCol="1270" anchor="ctr" anchorCtr="0">
          <a:noAutofit/>
        </a:bodyPr>
        <a:lstStyle/>
        <a:p>
          <a:pPr marL="0" lvl="0" indent="0" algn="ctr" defTabSz="1066800">
            <a:lnSpc>
              <a:spcPct val="90000"/>
            </a:lnSpc>
            <a:spcBef>
              <a:spcPct val="0"/>
            </a:spcBef>
            <a:spcAft>
              <a:spcPct val="35000"/>
            </a:spcAft>
            <a:buNone/>
          </a:pPr>
          <a:r>
            <a:rPr lang="en-US" sz="2400" kern="1200" dirty="0"/>
            <a:t>Cure</a:t>
          </a:r>
        </a:p>
      </dsp:txBody>
      <dsp:txXfrm>
        <a:off x="8072876" y="162245"/>
        <a:ext cx="2080897" cy="1009055"/>
      </dsp:txXfrm>
    </dsp:sp>
    <dsp:sp modelId="{205EF401-8BA5-4A30-8948-5A0BC02BCB7D}">
      <dsp:nvSpPr>
        <dsp:cNvPr id="0" name=""/>
        <dsp:cNvSpPr/>
      </dsp:nvSpPr>
      <dsp:spPr>
        <a:xfrm>
          <a:off x="8255852" y="1202694"/>
          <a:ext cx="214368" cy="1144796"/>
        </a:xfrm>
        <a:custGeom>
          <a:avLst/>
          <a:gdLst/>
          <a:ahLst/>
          <a:cxnLst/>
          <a:rect l="0" t="0" r="0" b="0"/>
          <a:pathLst>
            <a:path>
              <a:moveTo>
                <a:pt x="0" y="0"/>
              </a:moveTo>
              <a:lnTo>
                <a:pt x="0" y="1144796"/>
              </a:lnTo>
              <a:lnTo>
                <a:pt x="214368" y="1144796"/>
              </a:lnTo>
            </a:path>
          </a:pathLst>
        </a:custGeom>
        <a:noFill/>
        <a:ln w="1905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DFA3837-82C1-4E40-80B5-62147B92A06F}">
      <dsp:nvSpPr>
        <dsp:cNvPr id="0" name=""/>
        <dsp:cNvSpPr/>
      </dsp:nvSpPr>
      <dsp:spPr>
        <a:xfrm>
          <a:off x="8470220" y="1470654"/>
          <a:ext cx="2042707" cy="1753672"/>
        </a:xfrm>
        <a:prstGeom prst="roundRect">
          <a:avLst>
            <a:gd name="adj" fmla="val 10000"/>
          </a:avLst>
        </a:prstGeom>
        <a:solidFill>
          <a:schemeClr val="lt1">
            <a:alpha val="90000"/>
            <a:hueOff val="0"/>
            <a:satOff val="0"/>
            <a:lumOff val="0"/>
            <a:alphaOff val="0"/>
          </a:schemeClr>
        </a:solidFill>
        <a:ln w="1905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en-US" sz="1600" kern="1200" dirty="0"/>
            <a:t>Hematopoietic stem cell transplantation</a:t>
          </a:r>
        </a:p>
      </dsp:txBody>
      <dsp:txXfrm>
        <a:off x="8521583" y="1522017"/>
        <a:ext cx="1939981" cy="1650946"/>
      </dsp:txXfrm>
    </dsp:sp>
    <dsp:sp modelId="{A681DAFC-66AB-4881-B955-A476C1EBE38A}">
      <dsp:nvSpPr>
        <dsp:cNvPr id="0" name=""/>
        <dsp:cNvSpPr/>
      </dsp:nvSpPr>
      <dsp:spPr>
        <a:xfrm>
          <a:off x="8255852" y="1202694"/>
          <a:ext cx="214368" cy="2825513"/>
        </a:xfrm>
        <a:custGeom>
          <a:avLst/>
          <a:gdLst/>
          <a:ahLst/>
          <a:cxnLst/>
          <a:rect l="0" t="0" r="0" b="0"/>
          <a:pathLst>
            <a:path>
              <a:moveTo>
                <a:pt x="0" y="0"/>
              </a:moveTo>
              <a:lnTo>
                <a:pt x="0" y="2825513"/>
              </a:lnTo>
              <a:lnTo>
                <a:pt x="214368" y="2825513"/>
              </a:lnTo>
            </a:path>
          </a:pathLst>
        </a:custGeom>
        <a:noFill/>
        <a:ln w="1905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E5A5091-8D67-4267-A209-FF690C6C75B2}">
      <dsp:nvSpPr>
        <dsp:cNvPr id="0" name=""/>
        <dsp:cNvSpPr/>
      </dsp:nvSpPr>
      <dsp:spPr>
        <a:xfrm>
          <a:off x="8470220" y="3492287"/>
          <a:ext cx="1714946" cy="1071841"/>
        </a:xfrm>
        <a:prstGeom prst="roundRect">
          <a:avLst>
            <a:gd name="adj" fmla="val 10000"/>
          </a:avLst>
        </a:prstGeom>
        <a:solidFill>
          <a:schemeClr val="lt1">
            <a:alpha val="90000"/>
            <a:hueOff val="0"/>
            <a:satOff val="0"/>
            <a:lumOff val="0"/>
            <a:alphaOff val="0"/>
          </a:schemeClr>
        </a:solidFill>
        <a:ln w="1905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30480" tIns="20320" rIns="30480" bIns="20320" numCol="1" spcCol="1270" anchor="ctr" anchorCtr="0">
          <a:noAutofit/>
        </a:bodyPr>
        <a:lstStyle/>
        <a:p>
          <a:pPr marL="0" lvl="0" indent="0" algn="ctr" defTabSz="711200">
            <a:lnSpc>
              <a:spcPct val="90000"/>
            </a:lnSpc>
            <a:spcBef>
              <a:spcPct val="0"/>
            </a:spcBef>
            <a:spcAft>
              <a:spcPct val="35000"/>
            </a:spcAft>
            <a:buNone/>
          </a:pPr>
          <a:r>
            <a:rPr lang="en-US" sz="1600" kern="1200" dirty="0"/>
            <a:t>Investigational Options</a:t>
          </a:r>
        </a:p>
      </dsp:txBody>
      <dsp:txXfrm>
        <a:off x="8501613" y="3523680"/>
        <a:ext cx="1652160" cy="100905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B90A23-2037-4424-8075-F13359BDDF9B}">
      <dsp:nvSpPr>
        <dsp:cNvPr id="0" name=""/>
        <dsp:cNvSpPr/>
      </dsp:nvSpPr>
      <dsp:spPr>
        <a:xfrm>
          <a:off x="243682" y="2310"/>
          <a:ext cx="3792451" cy="2275471"/>
        </a:xfrm>
        <a:prstGeom prst="rect">
          <a:avLst/>
        </a:prstGeom>
        <a:solidFill>
          <a:schemeClr val="lt1">
            <a:hueOff val="0"/>
            <a:satOff val="0"/>
            <a:lumOff val="0"/>
            <a:alphaOff val="0"/>
          </a:schemeClr>
        </a:solidFill>
        <a:ln w="1905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t" anchorCtr="0">
          <a:noAutofit/>
        </a:bodyPr>
        <a:lstStyle/>
        <a:p>
          <a:pPr marL="0" lvl="0" indent="0" algn="l" defTabSz="1200150">
            <a:lnSpc>
              <a:spcPct val="90000"/>
            </a:lnSpc>
            <a:spcBef>
              <a:spcPct val="0"/>
            </a:spcBef>
            <a:spcAft>
              <a:spcPct val="35000"/>
            </a:spcAft>
            <a:buNone/>
          </a:pPr>
          <a:r>
            <a:rPr lang="en-US" sz="2700" b="1" kern="1200" dirty="0"/>
            <a:t>Fever</a:t>
          </a:r>
        </a:p>
        <a:p>
          <a:pPr marL="228600" lvl="1" indent="-228600" algn="l" defTabSz="933450">
            <a:lnSpc>
              <a:spcPct val="90000"/>
            </a:lnSpc>
            <a:spcBef>
              <a:spcPct val="0"/>
            </a:spcBef>
            <a:spcAft>
              <a:spcPct val="15000"/>
            </a:spcAft>
            <a:buChar char="•"/>
          </a:pPr>
          <a:r>
            <a:rPr lang="en-US" sz="2100" kern="1200" dirty="0"/>
            <a:t>Medical emergency for  infants</a:t>
          </a:r>
        </a:p>
        <a:p>
          <a:pPr marL="228600" lvl="1" indent="-228600" algn="l" defTabSz="933450">
            <a:lnSpc>
              <a:spcPct val="90000"/>
            </a:lnSpc>
            <a:spcBef>
              <a:spcPct val="0"/>
            </a:spcBef>
            <a:spcAft>
              <a:spcPct val="15000"/>
            </a:spcAft>
            <a:buChar char="•"/>
          </a:pPr>
          <a:r>
            <a:rPr lang="en-US" sz="2100" kern="1200" dirty="0"/>
            <a:t>Prompt evaluation for older children and adults with antibiotic treatment</a:t>
          </a:r>
        </a:p>
      </dsp:txBody>
      <dsp:txXfrm>
        <a:off x="243682" y="2310"/>
        <a:ext cx="3792451" cy="2275471"/>
      </dsp:txXfrm>
    </dsp:sp>
    <dsp:sp modelId="{E308C009-0A0C-45E4-9BC5-BB8FD1BA5035}">
      <dsp:nvSpPr>
        <dsp:cNvPr id="0" name=""/>
        <dsp:cNvSpPr/>
      </dsp:nvSpPr>
      <dsp:spPr>
        <a:xfrm>
          <a:off x="4415379" y="2310"/>
          <a:ext cx="3792451" cy="2275471"/>
        </a:xfrm>
        <a:prstGeom prst="rect">
          <a:avLst/>
        </a:prstGeom>
        <a:solidFill>
          <a:schemeClr val="lt1">
            <a:hueOff val="0"/>
            <a:satOff val="0"/>
            <a:lumOff val="0"/>
            <a:alphaOff val="0"/>
          </a:schemeClr>
        </a:solidFill>
        <a:ln w="1905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t" anchorCtr="0">
          <a:noAutofit/>
        </a:bodyPr>
        <a:lstStyle/>
        <a:p>
          <a:pPr marL="0" lvl="0" indent="0" algn="l" defTabSz="1200150">
            <a:lnSpc>
              <a:spcPct val="90000"/>
            </a:lnSpc>
            <a:spcBef>
              <a:spcPct val="0"/>
            </a:spcBef>
            <a:spcAft>
              <a:spcPct val="35000"/>
            </a:spcAft>
            <a:buNone/>
          </a:pPr>
          <a:r>
            <a:rPr lang="en-US" sz="2700" b="1" kern="1200" dirty="0"/>
            <a:t>Vaso-Occlusive Pain</a:t>
          </a:r>
        </a:p>
        <a:p>
          <a:pPr marL="228600" lvl="1" indent="-228600" algn="l" defTabSz="933450">
            <a:lnSpc>
              <a:spcPct val="90000"/>
            </a:lnSpc>
            <a:spcBef>
              <a:spcPct val="0"/>
            </a:spcBef>
            <a:spcAft>
              <a:spcPct val="15000"/>
            </a:spcAft>
            <a:buChar char="•"/>
          </a:pPr>
          <a:r>
            <a:rPr lang="en-US" sz="2100" kern="1200" dirty="0"/>
            <a:t>Non-pharmacologic management of pain</a:t>
          </a:r>
        </a:p>
        <a:p>
          <a:pPr marL="228600" lvl="1" indent="-228600" algn="l" defTabSz="933450">
            <a:lnSpc>
              <a:spcPct val="90000"/>
            </a:lnSpc>
            <a:spcBef>
              <a:spcPct val="0"/>
            </a:spcBef>
            <a:spcAft>
              <a:spcPct val="15000"/>
            </a:spcAft>
            <a:buChar char="•"/>
          </a:pPr>
          <a:r>
            <a:rPr lang="en-US" sz="2100" kern="1200" dirty="0"/>
            <a:t>Pharmacologic pain plan</a:t>
          </a:r>
        </a:p>
        <a:p>
          <a:pPr marL="228600" lvl="1" indent="-228600" algn="l" defTabSz="933450">
            <a:lnSpc>
              <a:spcPct val="90000"/>
            </a:lnSpc>
            <a:spcBef>
              <a:spcPct val="0"/>
            </a:spcBef>
            <a:spcAft>
              <a:spcPct val="15000"/>
            </a:spcAft>
            <a:buChar char="•"/>
          </a:pPr>
          <a:r>
            <a:rPr lang="en-US" sz="2100" kern="1200" dirty="0"/>
            <a:t>Hydration</a:t>
          </a:r>
        </a:p>
      </dsp:txBody>
      <dsp:txXfrm>
        <a:off x="4415379" y="2310"/>
        <a:ext cx="3792451" cy="2275471"/>
      </dsp:txXfrm>
    </dsp:sp>
    <dsp:sp modelId="{828AD615-1E35-4BBA-A7B6-DC48F912525D}">
      <dsp:nvSpPr>
        <dsp:cNvPr id="0" name=""/>
        <dsp:cNvSpPr/>
      </dsp:nvSpPr>
      <dsp:spPr>
        <a:xfrm>
          <a:off x="2329531" y="2657026"/>
          <a:ext cx="3792451" cy="2275471"/>
        </a:xfrm>
        <a:prstGeom prst="rect">
          <a:avLst/>
        </a:prstGeom>
        <a:solidFill>
          <a:schemeClr val="lt1">
            <a:hueOff val="0"/>
            <a:satOff val="0"/>
            <a:lumOff val="0"/>
            <a:alphaOff val="0"/>
          </a:schemeClr>
        </a:solidFill>
        <a:ln w="1905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2870" tIns="102870" rIns="102870" bIns="102870" numCol="1" spcCol="1270" anchor="t" anchorCtr="0">
          <a:noAutofit/>
        </a:bodyPr>
        <a:lstStyle/>
        <a:p>
          <a:pPr marL="0" lvl="0" indent="0" algn="l" defTabSz="1200150">
            <a:lnSpc>
              <a:spcPct val="90000"/>
            </a:lnSpc>
            <a:spcBef>
              <a:spcPct val="0"/>
            </a:spcBef>
            <a:spcAft>
              <a:spcPct val="35000"/>
            </a:spcAft>
            <a:buNone/>
          </a:pPr>
          <a:r>
            <a:rPr lang="en-US" sz="2700" b="1" kern="1200" dirty="0"/>
            <a:t>Acute Anemia</a:t>
          </a:r>
        </a:p>
        <a:p>
          <a:pPr marL="228600" lvl="1" indent="-228600" algn="l" defTabSz="933450">
            <a:lnSpc>
              <a:spcPct val="90000"/>
            </a:lnSpc>
            <a:spcBef>
              <a:spcPct val="0"/>
            </a:spcBef>
            <a:spcAft>
              <a:spcPct val="15000"/>
            </a:spcAft>
            <a:buChar char="•"/>
          </a:pPr>
          <a:r>
            <a:rPr lang="en-US" sz="2100" kern="1200" dirty="0"/>
            <a:t>CBC, reticulocyte count</a:t>
          </a:r>
        </a:p>
        <a:p>
          <a:pPr marL="228600" lvl="1" indent="-228600" algn="l" defTabSz="933450">
            <a:lnSpc>
              <a:spcPct val="90000"/>
            </a:lnSpc>
            <a:spcBef>
              <a:spcPct val="0"/>
            </a:spcBef>
            <a:spcAft>
              <a:spcPct val="15000"/>
            </a:spcAft>
            <a:buChar char="•"/>
          </a:pPr>
          <a:r>
            <a:rPr lang="en-US" sz="2100" kern="1200" dirty="0"/>
            <a:t>Confirm cause</a:t>
          </a:r>
        </a:p>
        <a:p>
          <a:pPr marL="228600" lvl="1" indent="-228600" algn="l" defTabSz="933450">
            <a:lnSpc>
              <a:spcPct val="90000"/>
            </a:lnSpc>
            <a:spcBef>
              <a:spcPct val="0"/>
            </a:spcBef>
            <a:spcAft>
              <a:spcPct val="15000"/>
            </a:spcAft>
            <a:buChar char="•"/>
          </a:pPr>
          <a:r>
            <a:rPr lang="en-US" sz="2100" kern="1200" dirty="0"/>
            <a:t>Red blood cell transfusion</a:t>
          </a:r>
        </a:p>
      </dsp:txBody>
      <dsp:txXfrm>
        <a:off x="2329531" y="2657026"/>
        <a:ext cx="3792451" cy="227547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E24C4A-2DE0-4F63-8688-AD99BE4B5A5C}">
      <dsp:nvSpPr>
        <dsp:cNvPr id="0" name=""/>
        <dsp:cNvSpPr/>
      </dsp:nvSpPr>
      <dsp:spPr>
        <a:xfrm>
          <a:off x="848652" y="743"/>
          <a:ext cx="3794862" cy="2276917"/>
        </a:xfrm>
        <a:prstGeom prst="rect">
          <a:avLst/>
        </a:prstGeom>
        <a:solidFill>
          <a:schemeClr val="lt1">
            <a:hueOff val="0"/>
            <a:satOff val="0"/>
            <a:lumOff val="0"/>
            <a:alphaOff val="0"/>
          </a:schemeClr>
        </a:solidFill>
        <a:ln w="1905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en-US" sz="2100" b="1" kern="1200" dirty="0"/>
            <a:t>Hepatobiliary Complications</a:t>
          </a:r>
        </a:p>
        <a:p>
          <a:pPr marL="171450" lvl="1" indent="-171450" algn="l" defTabSz="711200">
            <a:lnSpc>
              <a:spcPct val="90000"/>
            </a:lnSpc>
            <a:spcBef>
              <a:spcPct val="0"/>
            </a:spcBef>
            <a:spcAft>
              <a:spcPct val="15000"/>
            </a:spcAft>
            <a:buChar char="•"/>
          </a:pPr>
          <a:r>
            <a:rPr lang="en-US" sz="1600" kern="1200" dirty="0"/>
            <a:t>Referral to hematologist for consideration of surgery </a:t>
          </a:r>
        </a:p>
        <a:p>
          <a:pPr marL="171450" lvl="1" indent="-171450" algn="l" defTabSz="711200">
            <a:lnSpc>
              <a:spcPct val="90000"/>
            </a:lnSpc>
            <a:spcBef>
              <a:spcPct val="0"/>
            </a:spcBef>
            <a:spcAft>
              <a:spcPct val="15000"/>
            </a:spcAft>
            <a:buChar char="•"/>
          </a:pPr>
          <a:r>
            <a:rPr lang="en-US" sz="1600" kern="1200" dirty="0"/>
            <a:t>Surgical consult</a:t>
          </a:r>
        </a:p>
        <a:p>
          <a:pPr marL="171450" lvl="1" indent="-171450" algn="l" defTabSz="711200">
            <a:lnSpc>
              <a:spcPct val="90000"/>
            </a:lnSpc>
            <a:spcBef>
              <a:spcPct val="0"/>
            </a:spcBef>
            <a:spcAft>
              <a:spcPct val="15000"/>
            </a:spcAft>
            <a:buChar char="•"/>
          </a:pPr>
          <a:r>
            <a:rPr lang="en-US" sz="1600" kern="1200" dirty="0"/>
            <a:t>Transfusion prior to surgery to prevent acute chest syndrome</a:t>
          </a:r>
        </a:p>
      </dsp:txBody>
      <dsp:txXfrm>
        <a:off x="848652" y="743"/>
        <a:ext cx="3794862" cy="2276917"/>
      </dsp:txXfrm>
    </dsp:sp>
    <dsp:sp modelId="{09FBC752-F9C5-47CF-B8DE-C5772DAF5C4D}">
      <dsp:nvSpPr>
        <dsp:cNvPr id="0" name=""/>
        <dsp:cNvSpPr/>
      </dsp:nvSpPr>
      <dsp:spPr>
        <a:xfrm>
          <a:off x="5023000" y="743"/>
          <a:ext cx="3794862" cy="2276917"/>
        </a:xfrm>
        <a:prstGeom prst="rect">
          <a:avLst/>
        </a:prstGeom>
        <a:solidFill>
          <a:schemeClr val="lt1">
            <a:hueOff val="0"/>
            <a:satOff val="0"/>
            <a:lumOff val="0"/>
            <a:alphaOff val="0"/>
          </a:schemeClr>
        </a:solidFill>
        <a:ln w="1905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en-US" sz="2100" b="1" kern="1200" dirty="0"/>
            <a:t>Acute Chest Syndrome</a:t>
          </a:r>
        </a:p>
        <a:p>
          <a:pPr marL="171450" lvl="1" indent="-171450" algn="l" defTabSz="711200">
            <a:lnSpc>
              <a:spcPct val="90000"/>
            </a:lnSpc>
            <a:spcBef>
              <a:spcPct val="0"/>
            </a:spcBef>
            <a:spcAft>
              <a:spcPct val="15000"/>
            </a:spcAft>
            <a:buChar char="•"/>
          </a:pPr>
          <a:r>
            <a:rPr lang="en-US" sz="1600" kern="1200" dirty="0"/>
            <a:t>Antibiotics</a:t>
          </a:r>
        </a:p>
        <a:p>
          <a:pPr marL="171450" lvl="1" indent="-171450" algn="l" defTabSz="711200">
            <a:lnSpc>
              <a:spcPct val="90000"/>
            </a:lnSpc>
            <a:spcBef>
              <a:spcPct val="0"/>
            </a:spcBef>
            <a:spcAft>
              <a:spcPct val="15000"/>
            </a:spcAft>
            <a:buChar char="•"/>
          </a:pPr>
          <a:r>
            <a:rPr lang="en-US" sz="1600" kern="1200" dirty="0"/>
            <a:t>O</a:t>
          </a:r>
          <a:r>
            <a:rPr lang="en-US" sz="1600" kern="1200" baseline="-25000" dirty="0"/>
            <a:t>2</a:t>
          </a:r>
          <a:r>
            <a:rPr lang="en-US" sz="1600" kern="1200" baseline="0" dirty="0"/>
            <a:t> if pO</a:t>
          </a:r>
          <a:r>
            <a:rPr lang="en-US" sz="1600" kern="1200" baseline="-25000" dirty="0"/>
            <a:t>2</a:t>
          </a:r>
          <a:r>
            <a:rPr lang="en-US" sz="1600" kern="1200" baseline="0" dirty="0"/>
            <a:t> &lt;94%</a:t>
          </a:r>
        </a:p>
        <a:p>
          <a:pPr marL="171450" lvl="1" indent="-171450" algn="l" defTabSz="711200">
            <a:lnSpc>
              <a:spcPct val="90000"/>
            </a:lnSpc>
            <a:spcBef>
              <a:spcPct val="0"/>
            </a:spcBef>
            <a:spcAft>
              <a:spcPct val="15000"/>
            </a:spcAft>
            <a:buChar char="•"/>
          </a:pPr>
          <a:r>
            <a:rPr lang="en-US" sz="1600" kern="1200" baseline="0" dirty="0"/>
            <a:t>Incentive spirometry</a:t>
          </a:r>
        </a:p>
        <a:p>
          <a:pPr marL="171450" lvl="1" indent="-171450" algn="l" defTabSz="711200">
            <a:lnSpc>
              <a:spcPct val="90000"/>
            </a:lnSpc>
            <a:spcBef>
              <a:spcPct val="0"/>
            </a:spcBef>
            <a:spcAft>
              <a:spcPct val="15000"/>
            </a:spcAft>
            <a:buChar char="•"/>
          </a:pPr>
          <a:r>
            <a:rPr lang="en-US" sz="1600" kern="1200" baseline="0" dirty="0"/>
            <a:t>Simple transfusion  for mild symptoms, RBC exchange for severe symptoms</a:t>
          </a:r>
        </a:p>
      </dsp:txBody>
      <dsp:txXfrm>
        <a:off x="5023000" y="743"/>
        <a:ext cx="3794862" cy="2276917"/>
      </dsp:txXfrm>
    </dsp:sp>
    <dsp:sp modelId="{1A855177-76FC-4A72-B959-2AE17B516304}">
      <dsp:nvSpPr>
        <dsp:cNvPr id="0" name=""/>
        <dsp:cNvSpPr/>
      </dsp:nvSpPr>
      <dsp:spPr>
        <a:xfrm>
          <a:off x="2935826" y="2657147"/>
          <a:ext cx="3794862" cy="2276917"/>
        </a:xfrm>
        <a:prstGeom prst="rect">
          <a:avLst/>
        </a:prstGeom>
        <a:solidFill>
          <a:schemeClr val="lt1">
            <a:hueOff val="0"/>
            <a:satOff val="0"/>
            <a:lumOff val="0"/>
            <a:alphaOff val="0"/>
          </a:schemeClr>
        </a:solidFill>
        <a:ln w="1905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t" anchorCtr="0">
          <a:noAutofit/>
        </a:bodyPr>
        <a:lstStyle/>
        <a:p>
          <a:pPr marL="0" lvl="0" indent="0" algn="l" defTabSz="933450">
            <a:lnSpc>
              <a:spcPct val="90000"/>
            </a:lnSpc>
            <a:spcBef>
              <a:spcPct val="0"/>
            </a:spcBef>
            <a:spcAft>
              <a:spcPct val="35000"/>
            </a:spcAft>
            <a:buNone/>
          </a:pPr>
          <a:r>
            <a:rPr lang="en-US" sz="2100" b="1" kern="1200" dirty="0"/>
            <a:t>Acute Sequestration crisis</a:t>
          </a:r>
        </a:p>
        <a:p>
          <a:pPr marL="0" lvl="0" indent="0" algn="l" defTabSz="933450">
            <a:lnSpc>
              <a:spcPct val="90000"/>
            </a:lnSpc>
            <a:spcBef>
              <a:spcPct val="0"/>
            </a:spcBef>
            <a:spcAft>
              <a:spcPct val="35000"/>
            </a:spcAft>
            <a:buNone/>
          </a:pPr>
          <a:r>
            <a:rPr lang="en-US" sz="1600" kern="1200" baseline="0" dirty="0"/>
            <a:t> Oxygen treatment </a:t>
          </a:r>
          <a:endParaRPr lang="en-US" sz="1600" b="1" kern="1200" dirty="0"/>
        </a:p>
        <a:p>
          <a:pPr marL="171450" lvl="1" indent="-171450" algn="l" defTabSz="711200">
            <a:lnSpc>
              <a:spcPct val="90000"/>
            </a:lnSpc>
            <a:spcBef>
              <a:spcPct val="0"/>
            </a:spcBef>
            <a:spcAft>
              <a:spcPct val="15000"/>
            </a:spcAft>
            <a:buChar char="•"/>
          </a:pPr>
          <a:r>
            <a:rPr lang="en-US" sz="1600" kern="1200" baseline="0" dirty="0"/>
            <a:t>ICU admission</a:t>
          </a:r>
          <a:endParaRPr lang="en-US" sz="1600" kern="1200" dirty="0"/>
        </a:p>
        <a:p>
          <a:pPr marL="171450" lvl="1" indent="-171450" algn="l" defTabSz="711200">
            <a:lnSpc>
              <a:spcPct val="90000"/>
            </a:lnSpc>
            <a:spcBef>
              <a:spcPct val="0"/>
            </a:spcBef>
            <a:spcAft>
              <a:spcPct val="15000"/>
            </a:spcAft>
            <a:buChar char="•"/>
          </a:pPr>
          <a:r>
            <a:rPr lang="en-US" sz="1600" kern="1200" dirty="0"/>
            <a:t>Arrange for blood transfusion </a:t>
          </a:r>
        </a:p>
        <a:p>
          <a:pPr marL="171450" lvl="1" indent="-171450" algn="l" defTabSz="711200">
            <a:lnSpc>
              <a:spcPct val="90000"/>
            </a:lnSpc>
            <a:spcBef>
              <a:spcPct val="0"/>
            </a:spcBef>
            <a:spcAft>
              <a:spcPct val="15000"/>
            </a:spcAft>
            <a:buChar char="•"/>
          </a:pPr>
          <a:endParaRPr lang="en-US" sz="1600" kern="1200" dirty="0"/>
        </a:p>
      </dsp:txBody>
      <dsp:txXfrm>
        <a:off x="2935826" y="2657147"/>
        <a:ext cx="3794862" cy="227691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FFC6C20-8DB8-FA43-9996-320610B5366E}">
      <dsp:nvSpPr>
        <dsp:cNvPr id="0" name=""/>
        <dsp:cNvSpPr/>
      </dsp:nvSpPr>
      <dsp:spPr>
        <a:xfrm>
          <a:off x="789476" y="0"/>
          <a:ext cx="4855519" cy="4855519"/>
        </a:xfrm>
        <a:prstGeom prst="triangle">
          <a:avLst/>
        </a:prstGeom>
        <a:solidFill>
          <a:schemeClr val="accent4">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24D948C-9F17-A341-B51F-0949A102C669}">
      <dsp:nvSpPr>
        <dsp:cNvPr id="0" name=""/>
        <dsp:cNvSpPr/>
      </dsp:nvSpPr>
      <dsp:spPr>
        <a:xfrm>
          <a:off x="3217236" y="486026"/>
          <a:ext cx="3156087" cy="3451970"/>
        </a:xfrm>
        <a:prstGeom prst="roundRect">
          <a:avLst/>
        </a:prstGeom>
        <a:solidFill>
          <a:schemeClr val="lt1">
            <a:alpha val="90000"/>
            <a:hueOff val="0"/>
            <a:satOff val="0"/>
            <a:lumOff val="0"/>
            <a:alphaOff val="0"/>
          </a:schemeClr>
        </a:solidFill>
        <a:ln w="1905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56210" tIns="156210" rIns="156210" bIns="156210" numCol="1" spcCol="1270" anchor="t" anchorCtr="0">
          <a:noAutofit/>
        </a:bodyPr>
        <a:lstStyle/>
        <a:p>
          <a:pPr marL="0" lvl="0" indent="0" algn="l" defTabSz="1822450">
            <a:lnSpc>
              <a:spcPct val="90000"/>
            </a:lnSpc>
            <a:spcBef>
              <a:spcPct val="0"/>
            </a:spcBef>
            <a:spcAft>
              <a:spcPct val="35000"/>
            </a:spcAft>
            <a:buNone/>
          </a:pPr>
          <a:r>
            <a:rPr lang="en-GB" sz="4100" kern="1200" dirty="0"/>
            <a:t>PAIN</a:t>
          </a:r>
        </a:p>
        <a:p>
          <a:pPr marL="285750" lvl="1" indent="-285750" algn="l" defTabSz="1422400">
            <a:lnSpc>
              <a:spcPct val="90000"/>
            </a:lnSpc>
            <a:spcBef>
              <a:spcPct val="0"/>
            </a:spcBef>
            <a:spcAft>
              <a:spcPct val="15000"/>
            </a:spcAft>
            <a:buChar char="•"/>
          </a:pPr>
          <a:r>
            <a:rPr lang="en-GB" sz="3200" kern="1200" dirty="0"/>
            <a:t>Acute</a:t>
          </a:r>
        </a:p>
        <a:p>
          <a:pPr marL="285750" lvl="1" indent="-285750" algn="l" defTabSz="1422400">
            <a:lnSpc>
              <a:spcPct val="90000"/>
            </a:lnSpc>
            <a:spcBef>
              <a:spcPct val="0"/>
            </a:spcBef>
            <a:spcAft>
              <a:spcPct val="15000"/>
            </a:spcAft>
            <a:buChar char="•"/>
          </a:pPr>
          <a:r>
            <a:rPr lang="en-GB" sz="3200" kern="1200" dirty="0"/>
            <a:t>Chronic</a:t>
          </a:r>
        </a:p>
        <a:p>
          <a:pPr marL="285750" lvl="1" indent="-285750" algn="l" defTabSz="1422400">
            <a:lnSpc>
              <a:spcPct val="90000"/>
            </a:lnSpc>
            <a:spcBef>
              <a:spcPct val="0"/>
            </a:spcBef>
            <a:spcAft>
              <a:spcPct val="15000"/>
            </a:spcAft>
            <a:buChar char="•"/>
          </a:pPr>
          <a:r>
            <a:rPr lang="en-GB" sz="3200" kern="1200" dirty="0"/>
            <a:t>Neuropathic</a:t>
          </a:r>
        </a:p>
      </dsp:txBody>
      <dsp:txXfrm>
        <a:off x="3371303" y="640093"/>
        <a:ext cx="2847953" cy="3143836"/>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450DCC-CEA0-4F0D-9083-565CB8191126}">
      <dsp:nvSpPr>
        <dsp:cNvPr id="0" name=""/>
        <dsp:cNvSpPr/>
      </dsp:nvSpPr>
      <dsp:spPr>
        <a:xfrm>
          <a:off x="0" y="0"/>
          <a:ext cx="3313906" cy="1988343"/>
        </a:xfrm>
        <a:prstGeom prst="rect">
          <a:avLst/>
        </a:prstGeom>
        <a:solidFill>
          <a:srgbClr val="002060"/>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dirty="0"/>
            <a:t>Mental Health</a:t>
          </a:r>
        </a:p>
      </dsp:txBody>
      <dsp:txXfrm>
        <a:off x="0" y="0"/>
        <a:ext cx="3313906" cy="1988343"/>
      </dsp:txXfrm>
    </dsp:sp>
    <dsp:sp modelId="{2C7D5136-7FFC-460F-9127-029BDC1909B2}">
      <dsp:nvSpPr>
        <dsp:cNvPr id="0" name=""/>
        <dsp:cNvSpPr/>
      </dsp:nvSpPr>
      <dsp:spPr>
        <a:xfrm>
          <a:off x="3645296" y="0"/>
          <a:ext cx="3313906" cy="1988343"/>
        </a:xfrm>
        <a:prstGeom prst="rect">
          <a:avLst/>
        </a:prstGeom>
        <a:solidFill>
          <a:srgbClr val="002060"/>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dirty="0"/>
            <a:t>Chronic Pain</a:t>
          </a:r>
        </a:p>
      </dsp:txBody>
      <dsp:txXfrm>
        <a:off x="3645296" y="0"/>
        <a:ext cx="3313906" cy="1988343"/>
      </dsp:txXfrm>
    </dsp:sp>
    <dsp:sp modelId="{90993E03-59E7-438B-88A6-6EB9646D4CD4}">
      <dsp:nvSpPr>
        <dsp:cNvPr id="0" name=""/>
        <dsp:cNvSpPr/>
      </dsp:nvSpPr>
      <dsp:spPr>
        <a:xfrm>
          <a:off x="7290593" y="0"/>
          <a:ext cx="3313906" cy="1988343"/>
        </a:xfrm>
        <a:prstGeom prst="rect">
          <a:avLst/>
        </a:prstGeom>
        <a:solidFill>
          <a:srgbClr val="002060"/>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dirty="0"/>
            <a:t>Overt Strokes and Silent Strokes</a:t>
          </a:r>
        </a:p>
      </dsp:txBody>
      <dsp:txXfrm>
        <a:off x="7290593" y="0"/>
        <a:ext cx="3313906" cy="1988343"/>
      </dsp:txXfrm>
    </dsp:sp>
    <dsp:sp modelId="{964C67CC-32D3-4D0D-BB66-C56021D16521}">
      <dsp:nvSpPr>
        <dsp:cNvPr id="0" name=""/>
        <dsp:cNvSpPr/>
      </dsp:nvSpPr>
      <dsp:spPr>
        <a:xfrm>
          <a:off x="0" y="2311763"/>
          <a:ext cx="3313906" cy="1988343"/>
        </a:xfrm>
        <a:prstGeom prst="rect">
          <a:avLst/>
        </a:prstGeom>
        <a:solidFill>
          <a:srgbClr val="002060"/>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ts val="42"/>
            </a:spcAft>
            <a:buNone/>
          </a:pPr>
          <a:r>
            <a:rPr lang="en-US" sz="3200" kern="1200" dirty="0"/>
            <a:t>Elevated Tricuspid Jet Velocity or</a:t>
          </a:r>
        </a:p>
        <a:p>
          <a:pPr marL="0" lvl="0" indent="0" algn="ctr" defTabSz="1422400">
            <a:lnSpc>
              <a:spcPct val="90000"/>
            </a:lnSpc>
            <a:spcBef>
              <a:spcPct val="0"/>
            </a:spcBef>
            <a:spcAft>
              <a:spcPct val="35000"/>
            </a:spcAft>
            <a:buNone/>
          </a:pPr>
          <a:r>
            <a:rPr lang="en-US" sz="3200" kern="1200" dirty="0"/>
            <a:t>NT-BNP</a:t>
          </a:r>
        </a:p>
      </dsp:txBody>
      <dsp:txXfrm>
        <a:off x="0" y="2311763"/>
        <a:ext cx="3313906" cy="1988343"/>
      </dsp:txXfrm>
    </dsp:sp>
    <dsp:sp modelId="{2DD5DB10-D680-4C51-A853-A4B7C87D1A4E}">
      <dsp:nvSpPr>
        <dsp:cNvPr id="0" name=""/>
        <dsp:cNvSpPr/>
      </dsp:nvSpPr>
      <dsp:spPr>
        <a:xfrm>
          <a:off x="3645296" y="2311763"/>
          <a:ext cx="3313906" cy="1988343"/>
        </a:xfrm>
        <a:prstGeom prst="rect">
          <a:avLst/>
        </a:prstGeom>
        <a:solidFill>
          <a:srgbClr val="002060"/>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r>
            <a:rPr lang="en-US" sz="3200" kern="1200" dirty="0"/>
            <a:t>Renal</a:t>
          </a:r>
          <a:endParaRPr lang="en-US" sz="3200" kern="1200" dirty="0">
            <a:latin typeface="+mn-lt"/>
          </a:endParaRPr>
        </a:p>
      </dsp:txBody>
      <dsp:txXfrm>
        <a:off x="3645296" y="2311763"/>
        <a:ext cx="3313906" cy="1988343"/>
      </dsp:txXfrm>
    </dsp:sp>
    <dsp:sp modelId="{B9F50E70-6248-4332-A79A-4293F584BF6E}">
      <dsp:nvSpPr>
        <dsp:cNvPr id="0" name=""/>
        <dsp:cNvSpPr/>
      </dsp:nvSpPr>
      <dsp:spPr>
        <a:xfrm>
          <a:off x="7290593" y="2334311"/>
          <a:ext cx="3313906" cy="1988343"/>
        </a:xfrm>
        <a:prstGeom prst="rect">
          <a:avLst/>
        </a:prstGeom>
        <a:solidFill>
          <a:srgbClr val="002060"/>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1920" tIns="121920" rIns="121920" bIns="121920" numCol="1" spcCol="1270" anchor="ctr" anchorCtr="0">
          <a:noAutofit/>
        </a:bodyPr>
        <a:lstStyle/>
        <a:p>
          <a:pPr marL="0" lvl="0" indent="0" algn="ctr" defTabSz="1422400">
            <a:lnSpc>
              <a:spcPct val="90000"/>
            </a:lnSpc>
            <a:spcBef>
              <a:spcPct val="0"/>
            </a:spcBef>
            <a:spcAft>
              <a:spcPct val="35000"/>
            </a:spcAft>
            <a:buNone/>
          </a:pPr>
          <a:endParaRPr lang="en-US" sz="3200" kern="1200" dirty="0"/>
        </a:p>
        <a:p>
          <a:pPr marL="0" lvl="0" indent="0" algn="ctr" defTabSz="1422400">
            <a:lnSpc>
              <a:spcPct val="90000"/>
            </a:lnSpc>
            <a:spcBef>
              <a:spcPct val="0"/>
            </a:spcBef>
            <a:spcAft>
              <a:spcPct val="35000"/>
            </a:spcAft>
            <a:buNone/>
          </a:pPr>
          <a:r>
            <a:rPr lang="en-US" sz="3200" kern="1200" dirty="0"/>
            <a:t>Asthma or Recurrent Wheezing</a:t>
          </a:r>
        </a:p>
        <a:p>
          <a:pPr marL="0" lvl="0" indent="0" algn="l" defTabSz="1422400">
            <a:lnSpc>
              <a:spcPct val="90000"/>
            </a:lnSpc>
            <a:spcBef>
              <a:spcPct val="0"/>
            </a:spcBef>
            <a:spcAft>
              <a:spcPct val="35000"/>
            </a:spcAft>
            <a:buNone/>
          </a:pPr>
          <a:endParaRPr lang="en-US" sz="3200" kern="1200" dirty="0">
            <a:latin typeface="+mn-lt"/>
          </a:endParaRPr>
        </a:p>
      </dsp:txBody>
      <dsp:txXfrm>
        <a:off x="7290593" y="2334311"/>
        <a:ext cx="3313906" cy="1988343"/>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C7D5136-7FFC-460F-9127-029BDC1909B2}">
      <dsp:nvSpPr>
        <dsp:cNvPr id="0" name=""/>
        <dsp:cNvSpPr/>
      </dsp:nvSpPr>
      <dsp:spPr>
        <a:xfrm>
          <a:off x="916502" y="0"/>
          <a:ext cx="8771495" cy="5262897"/>
        </a:xfrm>
        <a:prstGeom prst="rect">
          <a:avLst/>
        </a:prstGeom>
        <a:solidFill>
          <a:srgbClr val="002060"/>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marL="0" lvl="0" indent="0" algn="ctr" defTabSz="1778000">
            <a:lnSpc>
              <a:spcPct val="90000"/>
            </a:lnSpc>
            <a:spcBef>
              <a:spcPct val="0"/>
            </a:spcBef>
            <a:spcAft>
              <a:spcPct val="35000"/>
            </a:spcAft>
            <a:buNone/>
          </a:pPr>
          <a:r>
            <a:rPr lang="en-US" sz="4000" kern="1200" dirty="0"/>
            <a:t>Chronic Pain</a:t>
          </a:r>
        </a:p>
        <a:p>
          <a:pPr marL="0" lvl="0" indent="0" algn="ctr" defTabSz="1778000">
            <a:lnSpc>
              <a:spcPct val="90000"/>
            </a:lnSpc>
            <a:spcBef>
              <a:spcPct val="0"/>
            </a:spcBef>
            <a:spcAft>
              <a:spcPct val="35000"/>
            </a:spcAft>
            <a:buNone/>
          </a:pPr>
          <a:endParaRPr lang="en-US" sz="4000" kern="1200" dirty="0"/>
        </a:p>
        <a:p>
          <a:pPr marL="0" lvl="0" indent="0" algn="l" defTabSz="1778000">
            <a:lnSpc>
              <a:spcPct val="90000"/>
            </a:lnSpc>
            <a:spcBef>
              <a:spcPct val="0"/>
            </a:spcBef>
            <a:spcAft>
              <a:spcPct val="35000"/>
            </a:spcAft>
            <a:buNone/>
          </a:pPr>
          <a:r>
            <a:rPr lang="en-US" sz="3600" kern="1200" dirty="0"/>
            <a:t>-R/O other causes (AVN, other fractures)</a:t>
          </a:r>
        </a:p>
        <a:p>
          <a:pPr marL="0" lvl="0" indent="0" algn="l" defTabSz="1778000">
            <a:lnSpc>
              <a:spcPct val="90000"/>
            </a:lnSpc>
            <a:spcBef>
              <a:spcPct val="0"/>
            </a:spcBef>
            <a:spcAft>
              <a:spcPct val="35000"/>
            </a:spcAft>
            <a:buNone/>
          </a:pPr>
          <a:r>
            <a:rPr lang="en-US" sz="3600" kern="1200" dirty="0"/>
            <a:t>-Individualized plan</a:t>
          </a:r>
        </a:p>
        <a:p>
          <a:pPr marL="0" lvl="0" indent="0" algn="l" defTabSz="1778000">
            <a:lnSpc>
              <a:spcPct val="90000"/>
            </a:lnSpc>
            <a:spcBef>
              <a:spcPct val="0"/>
            </a:spcBef>
            <a:spcAft>
              <a:spcPct val="35000"/>
            </a:spcAft>
            <a:buNone/>
          </a:pPr>
          <a:r>
            <a:rPr lang="en-US" sz="3600" kern="1200" dirty="0"/>
            <a:t>-Formal evaluation for depression and anxiety</a:t>
          </a:r>
        </a:p>
        <a:p>
          <a:pPr marL="0" lvl="0" indent="0" algn="l" defTabSz="1778000">
            <a:lnSpc>
              <a:spcPct val="90000"/>
            </a:lnSpc>
            <a:spcBef>
              <a:spcPct val="0"/>
            </a:spcBef>
            <a:spcAft>
              <a:spcPct val="35000"/>
            </a:spcAft>
            <a:buNone/>
          </a:pPr>
          <a:r>
            <a:rPr lang="en-US" sz="3600" kern="1200" dirty="0"/>
            <a:t>-Primary care provider referral</a:t>
          </a:r>
        </a:p>
      </dsp:txBody>
      <dsp:txXfrm>
        <a:off x="916502" y="0"/>
        <a:ext cx="8771495" cy="5262897"/>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B450DCC-CEA0-4F0D-9083-565CB8191126}">
      <dsp:nvSpPr>
        <dsp:cNvPr id="0" name=""/>
        <dsp:cNvSpPr/>
      </dsp:nvSpPr>
      <dsp:spPr>
        <a:xfrm>
          <a:off x="916502" y="0"/>
          <a:ext cx="8771495" cy="5262897"/>
        </a:xfrm>
        <a:prstGeom prst="rect">
          <a:avLst/>
        </a:prstGeom>
        <a:solidFill>
          <a:srgbClr val="002060"/>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marL="0" lvl="0" indent="0" algn="ctr" defTabSz="1778000">
            <a:lnSpc>
              <a:spcPct val="90000"/>
            </a:lnSpc>
            <a:spcBef>
              <a:spcPct val="0"/>
            </a:spcBef>
            <a:spcAft>
              <a:spcPct val="35000"/>
            </a:spcAft>
            <a:buNone/>
          </a:pPr>
          <a:r>
            <a:rPr lang="en-US" sz="4000" kern="1200" dirty="0"/>
            <a:t>Mental Health</a:t>
          </a:r>
        </a:p>
        <a:p>
          <a:pPr marL="0" lvl="0" indent="0" algn="ctr" defTabSz="1778000">
            <a:lnSpc>
              <a:spcPct val="90000"/>
            </a:lnSpc>
            <a:spcBef>
              <a:spcPct val="0"/>
            </a:spcBef>
            <a:spcAft>
              <a:spcPct val="35000"/>
            </a:spcAft>
            <a:buNone/>
          </a:pPr>
          <a:endParaRPr lang="en-US" sz="4000" kern="1200" dirty="0"/>
        </a:p>
        <a:p>
          <a:pPr marL="0" lvl="0" indent="0" algn="l" defTabSz="1778000">
            <a:lnSpc>
              <a:spcPct val="90000"/>
            </a:lnSpc>
            <a:spcBef>
              <a:spcPct val="0"/>
            </a:spcBef>
            <a:spcAft>
              <a:spcPct val="35000"/>
            </a:spcAft>
            <a:buNone/>
          </a:pPr>
          <a:r>
            <a:rPr lang="en-US" sz="3600" kern="1200" dirty="0"/>
            <a:t>-Ongoing assessment  of depression and anxiety</a:t>
          </a:r>
        </a:p>
        <a:p>
          <a:pPr marL="0" lvl="0" indent="0" algn="l" defTabSz="1778000">
            <a:lnSpc>
              <a:spcPct val="90000"/>
            </a:lnSpc>
            <a:spcBef>
              <a:spcPct val="0"/>
            </a:spcBef>
            <a:spcAft>
              <a:spcPct val="35000"/>
            </a:spcAft>
            <a:buNone/>
          </a:pPr>
          <a:r>
            <a:rPr lang="en-US" sz="3600" kern="1200" dirty="0"/>
            <a:t>-Primary care management</a:t>
          </a:r>
        </a:p>
        <a:p>
          <a:pPr marL="0" lvl="0" indent="0" algn="l" defTabSz="1778000">
            <a:lnSpc>
              <a:spcPct val="90000"/>
            </a:lnSpc>
            <a:spcBef>
              <a:spcPct val="0"/>
            </a:spcBef>
            <a:spcAft>
              <a:spcPct val="35000"/>
            </a:spcAft>
            <a:buNone/>
          </a:pPr>
          <a:r>
            <a:rPr lang="en-US" sz="3600" kern="1200" dirty="0"/>
            <a:t>-Referral to mental health therapist</a:t>
          </a:r>
        </a:p>
        <a:p>
          <a:pPr marL="0" lvl="0" indent="0" algn="l" defTabSz="1778000">
            <a:lnSpc>
              <a:spcPct val="90000"/>
            </a:lnSpc>
            <a:spcBef>
              <a:spcPct val="0"/>
            </a:spcBef>
            <a:spcAft>
              <a:spcPct val="35000"/>
            </a:spcAft>
            <a:buNone/>
          </a:pPr>
          <a:endParaRPr lang="en-US" sz="1600" kern="1200" dirty="0"/>
        </a:p>
      </dsp:txBody>
      <dsp:txXfrm>
        <a:off x="916502" y="0"/>
        <a:ext cx="8771495" cy="5262897"/>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0993E03-59E7-438B-88A6-6EB9646D4CD4}">
      <dsp:nvSpPr>
        <dsp:cNvPr id="0" name=""/>
        <dsp:cNvSpPr/>
      </dsp:nvSpPr>
      <dsp:spPr>
        <a:xfrm>
          <a:off x="916502" y="0"/>
          <a:ext cx="8771495" cy="5262897"/>
        </a:xfrm>
        <a:prstGeom prst="rect">
          <a:avLst/>
        </a:prstGeom>
        <a:solidFill>
          <a:srgbClr val="002060"/>
        </a:solidFill>
        <a:ln w="1905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0" tIns="152400" rIns="152400" bIns="152400" numCol="1" spcCol="1270" anchor="ctr" anchorCtr="0">
          <a:noAutofit/>
        </a:bodyPr>
        <a:lstStyle/>
        <a:p>
          <a:pPr marL="0" lvl="0" indent="0" algn="ctr" defTabSz="1778000">
            <a:lnSpc>
              <a:spcPct val="90000"/>
            </a:lnSpc>
            <a:spcBef>
              <a:spcPct val="0"/>
            </a:spcBef>
            <a:spcAft>
              <a:spcPct val="35000"/>
            </a:spcAft>
            <a:buNone/>
          </a:pPr>
          <a:r>
            <a:rPr lang="en-US" sz="4000" kern="1200" dirty="0"/>
            <a:t>Overt Strokes and Silent Strokes</a:t>
          </a:r>
        </a:p>
        <a:p>
          <a:pPr marL="0" lvl="0" indent="0" algn="ctr" defTabSz="1778000">
            <a:lnSpc>
              <a:spcPct val="90000"/>
            </a:lnSpc>
            <a:spcBef>
              <a:spcPct val="0"/>
            </a:spcBef>
            <a:spcAft>
              <a:spcPct val="35000"/>
            </a:spcAft>
            <a:buNone/>
          </a:pPr>
          <a:endParaRPr lang="en-US" sz="4000" kern="1200" dirty="0"/>
        </a:p>
        <a:p>
          <a:pPr marL="0" lvl="0" indent="0" algn="l" defTabSz="1778000">
            <a:lnSpc>
              <a:spcPct val="90000"/>
            </a:lnSpc>
            <a:spcBef>
              <a:spcPct val="0"/>
            </a:spcBef>
            <a:spcAft>
              <a:spcPct val="35000"/>
            </a:spcAft>
            <a:buNone/>
          </a:pPr>
          <a:r>
            <a:rPr lang="en-US" sz="3600" kern="1200" dirty="0"/>
            <a:t>-Standard care</a:t>
          </a:r>
        </a:p>
        <a:p>
          <a:pPr marL="0" lvl="0" indent="0" algn="l" defTabSz="1778000">
            <a:lnSpc>
              <a:spcPct val="90000"/>
            </a:lnSpc>
            <a:spcBef>
              <a:spcPct val="0"/>
            </a:spcBef>
            <a:spcAft>
              <a:spcPct val="35000"/>
            </a:spcAft>
            <a:buNone/>
          </a:pPr>
          <a:r>
            <a:rPr lang="en-US" sz="3600" kern="1200" dirty="0"/>
            <a:t>-Blood transfusion therapy</a:t>
          </a:r>
        </a:p>
        <a:p>
          <a:pPr marL="0" lvl="0" indent="0" algn="l" defTabSz="1778000">
            <a:lnSpc>
              <a:spcPct val="90000"/>
            </a:lnSpc>
            <a:spcBef>
              <a:spcPct val="0"/>
            </a:spcBef>
            <a:spcAft>
              <a:spcPct val="35000"/>
            </a:spcAft>
            <a:buNone/>
          </a:pPr>
          <a:r>
            <a:rPr lang="en-US" sz="3600" kern="1200" dirty="0"/>
            <a:t>-Iron chelation</a:t>
          </a:r>
        </a:p>
        <a:p>
          <a:pPr marL="0" lvl="0" indent="0" algn="l" defTabSz="1778000">
            <a:lnSpc>
              <a:spcPct val="90000"/>
            </a:lnSpc>
            <a:spcBef>
              <a:spcPct val="0"/>
            </a:spcBef>
            <a:spcAft>
              <a:spcPct val="35000"/>
            </a:spcAft>
            <a:buNone/>
          </a:pPr>
          <a:r>
            <a:rPr lang="en-US" sz="3600" kern="1200" dirty="0"/>
            <a:t>-Bone marrow transplant</a:t>
          </a:r>
        </a:p>
      </dsp:txBody>
      <dsp:txXfrm>
        <a:off x="916502" y="0"/>
        <a:ext cx="8771495" cy="5262897"/>
      </dsp:txXfrm>
    </dsp:sp>
  </dsp:spTree>
</dsp:drawing>
</file>

<file path=ppt/diagrams/layout1.xml><?xml version="1.0" encoding="utf-8"?>
<dgm:layoutDef xmlns:dgm="http://schemas.openxmlformats.org/drawingml/2006/diagram" xmlns:a="http://schemas.openxmlformats.org/drawingml/2006/main" uniqueId="urn:microsoft.com/office/officeart/2005/8/layout/cycle7">
  <dgm:title val=""/>
  <dgm:desc val=""/>
  <dgm:catLst>
    <dgm:cat type="cycle" pri="6000"/>
  </dgm:catLst>
  <dgm:sampData>
    <dgm:dataModel>
      <dgm:ptLst>
        <dgm:pt modelId="0" type="doc"/>
        <dgm:pt modelId="1">
          <dgm:prSet phldr="1"/>
        </dgm:pt>
        <dgm:pt modelId="2">
          <dgm:prSet phldr="1"/>
        </dgm:pt>
        <dgm:pt modelId="3">
          <dgm:prSet phldr="1"/>
        </dgm:pt>
      </dgm:ptLst>
      <dgm:cxnLst>
        <dgm:cxn modelId="6" srcId="0" destId="1" srcOrd="0" destOrd="0"/>
        <dgm:cxn modelId="7" srcId="0" destId="2" srcOrd="1" destOrd="0"/>
        <dgm:cxn modelId="8" srcId="0" destId="3" srcOrd="2"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func="var" arg="dir" op="equ" val="norm">
        <dgm:alg type="cycle">
          <dgm:param type="stAng" val="0"/>
          <dgm:param type="spanAng" val="360"/>
        </dgm:alg>
      </dgm:if>
      <dgm:else name="Name3">
        <dgm:alg type="cycle">
          <dgm:param type="stAng" val="0"/>
          <dgm:param type="spanAng" val="-360"/>
        </dgm:alg>
      </dgm:else>
    </dgm:choose>
    <dgm:shape xmlns:r="http://schemas.openxmlformats.org/officeDocument/2006/relationships" r:blip="">
      <dgm:adjLst/>
    </dgm:shape>
    <dgm:presOf/>
    <dgm:constrLst>
      <dgm:constr type="diam" refType="w"/>
      <dgm:constr type="w" for="ch" ptType="node" refType="w"/>
      <dgm:constr type="primFontSz" for="ch" ptType="node" op="equ" val="65"/>
      <dgm:constr type="w" for="ch" forName="sibTrans" refType="w" refFor="ch" refPtType="node" op="equ" fact="0.35"/>
      <dgm:constr type="connDist" for="ch" forName="sibTrans" op="equ"/>
      <dgm:constr type="primFontSz" for="des" forName="connectorText" op="equ" val="55"/>
      <dgm:constr type="primFontSz" for="des" forName="connectorText" refType="primFontSz" refFor="ch" refPtType="node" op="lte" fact="0.8"/>
      <dgm:constr type="sibSp" refType="w" refFor="ch" refPtType="node" op="equ" fact="0.65"/>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4">
        <dgm:if name="Name5" axis="par ch" ptType="doc node" func="cnt" op="gt" val="1">
          <dgm:forEach name="sibTransForEach" axis="followSib" ptType="sibTrans" hideLastTrans="0" cnt="1">
            <dgm:layoutNode name="sibTrans">
              <dgm:choose name="Name6">
                <dgm:if name="Name7" axis="par ch" ptType="doc node" func="posEven" op="equ" val="1">
                  <dgm:alg type="conn">
                    <dgm:param type="begPts" val="radial"/>
                    <dgm:param type="endPts" val="radial"/>
                    <dgm:param type="begSty" val="arr"/>
                    <dgm:param type="endSty" val="arr"/>
                  </dgm:alg>
                </dgm:if>
                <dgm:else name="Name8">
                  <dgm:alg type="conn">
                    <dgm:param type="begPts" val="auto"/>
                    <dgm:param type="endPts" val="auto"/>
                    <dgm:param type="begSty" val="arr"/>
                    <dgm:param type="endSty" val="arr"/>
                  </dgm:alg>
                </dgm:else>
              </dgm:choose>
              <dgm:shape xmlns:r="http://schemas.openxmlformats.org/officeDocument/2006/relationships" type="conn" r:blip="">
                <dgm:adjLst/>
              </dgm:shape>
              <dgm:presOf axis="self"/>
              <dgm:constrLst>
                <dgm:constr type="h" refType="w" fact="0.5"/>
                <dgm:constr type="connDist"/>
                <dgm:constr type="begPad" refType="connDist" fact="0.1"/>
                <dgm:constr type="endPad" refType="connDist" fact="0.1"/>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9"/>
      </dgm:choose>
    </dgm:forEach>
  </dgm:layoutNode>
</dgm:layoutDef>
</file>

<file path=ppt/diagrams/layout10.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8/layout/BendingPictureBlocks">
  <dgm:title val=""/>
  <dgm:desc val=""/>
  <dgm:catLst>
    <dgm:cat type="picture" pri="8000"/>
    <dgm:cat type="pictureconvert" pri="80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dir/>
      <dgm:resizeHandles/>
    </dgm:varLst>
    <dgm:choose name="Name1">
      <dgm:if name="Name2" func="var" arg="dir" op="equ" val="norm">
        <dgm:alg type="snake">
          <dgm:param type="off" val="ctr"/>
        </dgm:alg>
      </dgm:if>
      <dgm:else name="Name3">
        <dgm:alg type="snake">
          <dgm:param type="off" val="ctr"/>
          <dgm:param type="grDir" val="tR"/>
        </dgm:alg>
      </dgm:else>
    </dgm:choose>
    <dgm:shape xmlns:r="http://schemas.openxmlformats.org/officeDocument/2006/relationships" r:blip="">
      <dgm:adjLst/>
    </dgm:shape>
    <dgm:constrLst>
      <dgm:constr type="primFontSz" for="des" ptType="node" op="equ" val="65"/>
      <dgm:constr type="w" for="ch" forName="composite" refType="h" fact="1.61"/>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alg type="composite">
          <dgm:param type="ar" val="1.3908"/>
        </dgm:alg>
        <dgm:shape xmlns:r="http://schemas.openxmlformats.org/officeDocument/2006/relationships" r:blip="">
          <dgm:adjLst/>
        </dgm:shape>
        <dgm:choose name="Name4">
          <dgm:if name="Name5" func="var" arg="dir" op="equ" val="norm">
            <dgm:constrLst>
              <dgm:constr type="l" for="ch" forName="rect1" refType="w" fact="0.3"/>
              <dgm:constr type="t" for="ch" forName="rect1" refType="h" fact="0"/>
              <dgm:constr type="w" for="ch" forName="rect1" refType="h" fact="1.12"/>
              <dgm:constr type="h" for="ch" forName="rect1" refType="h" fact="0.942"/>
              <dgm:constr type="l" for="ch" forName="rect2" refType="w" fact="0"/>
              <dgm:constr type="t" for="ch" forName="rect2" refType="h" fact="0.396"/>
              <dgm:constr type="w" for="ch" forName="rect2" refType="h" fact="0.607"/>
              <dgm:constr type="h" for="ch" forName="rect2" refType="h" fact="0.607"/>
            </dgm:constrLst>
          </dgm:if>
          <dgm:else name="Name6">
            <dgm:constrLst>
              <dgm:constr type="l" for="ch" forName="rect1" refType="w" fact="0"/>
              <dgm:constr type="t" for="ch" forName="rect1" refType="h" fact="0"/>
              <dgm:constr type="w" for="ch" forName="rect1" refType="h" fact="1.12"/>
              <dgm:constr type="h" for="ch" forName="rect1" refType="h" fact="0.942"/>
              <dgm:constr type="l" for="ch" forName="rect2" refType="w" fact="0.63"/>
              <dgm:constr type="t" for="ch" forName="rect2" refType="h" fact="0.396"/>
              <dgm:constr type="w" for="ch" forName="rect2" refType="h" fact="0.607"/>
              <dgm:constr type="h" for="ch" forName="rect2" refType="h" fact="0.607"/>
            </dgm:constrLst>
          </dgm:else>
        </dgm:choose>
        <dgm:layoutNode name="rect1" styleLbl="bgImgPlace1">
          <dgm:alg type="sp"/>
          <dgm:shape xmlns:r="http://schemas.openxmlformats.org/officeDocument/2006/relationships" type="rect" r:blip="" blipPhldr="1">
            <dgm:adjLst/>
          </dgm:shape>
          <dgm:presOf/>
        </dgm:layoutNode>
        <dgm:layoutNode name="rect2" styleLbl="node1">
          <dgm:varLst>
            <dgm:bulletEnabled val="1"/>
          </dgm:varLst>
          <dgm:alg type="tx">
            <dgm:param type="txAnchorVertCh" val="mid"/>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layout6.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EF9A2B8-E553-443E-ADFC-81DF82349D1E}" type="datetimeFigureOut">
              <a:rPr lang="en-IN" smtClean="0"/>
              <a:t>22-10-2024</a:t>
            </a:fld>
            <a:endParaRPr lang="en-IN"/>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IN"/>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39BD122-5D5C-461D-A1F9-A109C73A5483}" type="slidenum">
              <a:rPr lang="en-IN" smtClean="0"/>
              <a:t>‹#›</a:t>
            </a:fld>
            <a:endParaRPr lang="en-IN"/>
          </a:p>
        </p:txBody>
      </p:sp>
    </p:spTree>
    <p:extLst>
      <p:ext uri="{BB962C8B-B14F-4D97-AF65-F5344CB8AC3E}">
        <p14:creationId xmlns:p14="http://schemas.microsoft.com/office/powerpoint/2010/main" val="29905570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dirty="0"/>
              <a:t>There is a great variability in the signs and symptoms of sickle cell disease, which </a:t>
            </a:r>
            <a:r>
              <a:rPr lang="en-US" sz="1200" b="0" i="0" kern="1200" dirty="0">
                <a:solidFill>
                  <a:schemeClr val="tx1"/>
                </a:solidFill>
                <a:effectLst/>
                <a:latin typeface="+mn-lt"/>
                <a:ea typeface="+mn-ea"/>
                <a:cs typeface="+mn-cs"/>
              </a:rPr>
              <a:t>are different for each person and can range from mild to sever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baseline="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sz="1200" b="1" baseline="0" dirty="0">
                <a:solidFill>
                  <a:schemeClr val="tx1"/>
                </a:solidFill>
              </a:rPr>
              <a:t>Complications of SCD also differ across child and adulthoo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baseline="0" dirty="0">
                <a:solidFill>
                  <a:schemeClr val="tx1"/>
                </a:solidFill>
              </a:rPr>
              <a:t>In both child and adulthood, complications of SCD includ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baseline="0" dirty="0">
                <a:solidFill>
                  <a:schemeClr val="tx1"/>
                </a:solidFill>
              </a:rPr>
              <a:t>Strok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baseline="0" dirty="0">
                <a:solidFill>
                  <a:schemeClr val="tx1"/>
                </a:solidFill>
              </a:rPr>
              <a:t>Dental protrusio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baseline="0" dirty="0">
                <a:solidFill>
                  <a:schemeClr val="tx1"/>
                </a:solidFill>
              </a:rPr>
              <a:t>Acute Chest Syndrom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baseline="0" dirty="0">
                <a:solidFill>
                  <a:schemeClr val="tx1"/>
                </a:solidFill>
              </a:rPr>
              <a:t>Gallstone (jaundice)</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1965"/>
                </a:solidFill>
                <a:effectLst/>
                <a:uLnTx/>
                <a:uFillTx/>
                <a:latin typeface="+mn-lt"/>
                <a:ea typeface="+mn-ea"/>
                <a:cs typeface="+mn-cs"/>
              </a:rPr>
              <a:t>Cholelithiasis</a:t>
            </a:r>
            <a:endParaRPr kumimoji="0" lang="en-US" sz="1200" b="0" i="0" u="none" strike="noStrike" kern="1200" cap="none" spc="0" normalizeH="0" baseline="0" noProof="0" dirty="0">
              <a:ln>
                <a:noFill/>
              </a:ln>
              <a:solidFill>
                <a:srgbClr val="001965"/>
              </a:solidFill>
              <a:effectLst/>
              <a:uLnTx/>
              <a:uFillTx/>
              <a:latin typeface="+mn-lt"/>
              <a:ea typeface="+mn-ea"/>
              <a:cs typeface="+mn-cs"/>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baseline="0" dirty="0">
                <a:solidFill>
                  <a:schemeClr val="tx1"/>
                </a:solidFill>
              </a:rPr>
              <a:t>Priapism and delayed sexual developmen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baseline="0" dirty="0">
                <a:solidFill>
                  <a:schemeClr val="tx1"/>
                </a:solidFill>
              </a:rPr>
              <a:t>Avascular necrosi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baseline="0" dirty="0">
                <a:solidFill>
                  <a:schemeClr val="tx1"/>
                </a:solidFill>
              </a:rPr>
              <a:t>Chronic ulcers (lower extremitie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baseline="0" dirty="0">
                <a:solidFill>
                  <a:schemeClr val="tx1"/>
                </a:solidFill>
              </a:rPr>
              <a:t>Vaso-occlusion</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baseline="0" dirty="0">
                <a:solidFill>
                  <a:schemeClr val="tx1"/>
                </a:solidFill>
              </a:rPr>
              <a:t>Chronic haemolytic anaemia</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b="0" baseline="0" dirty="0" err="1">
                <a:solidFill>
                  <a:schemeClr val="tx1"/>
                </a:solidFill>
              </a:rPr>
              <a:t>Immunosuppresion</a:t>
            </a:r>
            <a:endParaRPr lang="en-GB" sz="1200" b="0" baseline="0" dirty="0">
              <a:solidFill>
                <a:schemeClr val="tx1"/>
              </a:solidFill>
            </a:endParaRP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b="0" baseline="0" dirty="0">
              <a:solidFill>
                <a:schemeClr val="tx1"/>
              </a:solidFill>
            </a:endParaRPr>
          </a:p>
          <a:p>
            <a:pPr marL="171450" indent="-171450">
              <a:buFont typeface="Arial" panose="020B0604020202020204" pitchFamily="34" charset="0"/>
              <a:buChar char="•"/>
            </a:pPr>
            <a:r>
              <a:rPr lang="en-GB" sz="1200" b="1" baseline="0" dirty="0">
                <a:solidFill>
                  <a:schemeClr val="tx1"/>
                </a:solidFill>
              </a:rPr>
              <a:t>During childhood, </a:t>
            </a:r>
            <a:r>
              <a:rPr lang="en-US" sz="1200" b="0" baseline="0" dirty="0">
                <a:solidFill>
                  <a:schemeClr val="tx1"/>
                </a:solidFill>
              </a:rPr>
              <a:t>t</a:t>
            </a:r>
            <a:r>
              <a:rPr lang="en-US" dirty="0"/>
              <a:t>he most frequent problems are: pain, infection, acute splenic sequestration (blood pooling</a:t>
            </a:r>
            <a:r>
              <a:rPr lang="en-US" baseline="0" dirty="0"/>
              <a:t> in spleen), a</a:t>
            </a:r>
            <a:r>
              <a:rPr lang="en-US" dirty="0"/>
              <a:t>cute chest syndrome (ACS) and stroke.</a:t>
            </a:r>
          </a:p>
          <a:p>
            <a:pPr marL="628650" lvl="1" indent="-171450">
              <a:buFont typeface="Arial" panose="020B0604020202020204" pitchFamily="34" charset="0"/>
              <a:buChar char="•"/>
            </a:pPr>
            <a:r>
              <a:rPr lang="en-US" dirty="0"/>
              <a:t>Poor splenic function results in a compromised immune system and increased susceptibility to infection (including sepsis), which is the primary cause of mortality in pediatric patients. </a:t>
            </a:r>
          </a:p>
          <a:p>
            <a:pPr marL="628650" lvl="1" indent="-171450">
              <a:buFont typeface="Arial" panose="020B0604020202020204" pitchFamily="34" charset="0"/>
              <a:buChar char="•"/>
            </a:pPr>
            <a:r>
              <a:rPr lang="en-US" dirty="0"/>
              <a:t>Penicillin prophylaxis and anti-pneumococcal vaccination have significantly decreased the incidence of life-threatening infections in children with SCD in regions where these treatments are utilized.</a:t>
            </a:r>
          </a:p>
          <a:p>
            <a:pPr marL="628650" lvl="1" indent="-171450">
              <a:buFont typeface="Arial" panose="020B0604020202020204" pitchFamily="34" charset="0"/>
              <a:buChar char="•"/>
            </a:pPr>
            <a:r>
              <a:rPr lang="en-US" dirty="0"/>
              <a:t>Other complications include:</a:t>
            </a:r>
          </a:p>
          <a:p>
            <a:pPr marL="1085850" lvl="2" indent="-171450">
              <a:buFont typeface="Arial" panose="020B0604020202020204" pitchFamily="34" charset="0"/>
              <a:buChar char="•"/>
            </a:pPr>
            <a:r>
              <a:rPr lang="en-US" dirty="0"/>
              <a:t>Aplastic crisis, impaired immunity, delayed growth</a:t>
            </a:r>
          </a:p>
          <a:p>
            <a:pPr marL="1085850" lvl="2" indent="-171450">
              <a:buFont typeface="Arial" panose="020B0604020202020204" pitchFamily="34" charset="0"/>
              <a:buChar char="•"/>
            </a:pPr>
            <a:r>
              <a:rPr lang="en-US" dirty="0"/>
              <a:t>Retinal artery occlusion</a:t>
            </a:r>
          </a:p>
          <a:p>
            <a:pPr marL="1085850" lvl="2" indent="-171450">
              <a:buFont typeface="Arial" panose="020B0604020202020204" pitchFamily="34" charset="0"/>
              <a:buChar char="•"/>
            </a:pPr>
            <a:r>
              <a:rPr lang="en-US" dirty="0"/>
              <a:t>Asthma</a:t>
            </a:r>
          </a:p>
          <a:p>
            <a:pPr marL="1085850" lvl="2" indent="-171450">
              <a:buFont typeface="Arial" panose="020B0604020202020204" pitchFamily="34" charset="0"/>
              <a:buChar char="•"/>
            </a:pPr>
            <a:r>
              <a:rPr lang="en-US" dirty="0"/>
              <a:t>Left ventricular hypertrophy, cardiomyopathy</a:t>
            </a:r>
          </a:p>
          <a:p>
            <a:pPr marL="1085850" lvl="2" indent="-171450">
              <a:buFont typeface="Arial" panose="020B0604020202020204" pitchFamily="34" charset="0"/>
              <a:buChar char="•"/>
            </a:pPr>
            <a:r>
              <a:rPr lang="en-US" dirty="0" err="1"/>
              <a:t>Autoinfarction</a:t>
            </a:r>
            <a:endParaRPr lang="en-US" dirty="0"/>
          </a:p>
          <a:p>
            <a:pPr marL="1085850" lvl="2" indent="-171450">
              <a:buFont typeface="Arial" panose="020B0604020202020204" pitchFamily="34" charset="0"/>
              <a:buChar char="•"/>
            </a:pPr>
            <a:r>
              <a:rPr lang="en-US" dirty="0"/>
              <a:t>Dactylitis</a:t>
            </a:r>
          </a:p>
          <a:p>
            <a:pPr marL="1085850" lvl="2" indent="-171450">
              <a:buFont typeface="Arial" panose="020B0604020202020204" pitchFamily="34" charset="0"/>
              <a:buChar char="•"/>
            </a:pPr>
            <a:r>
              <a:rPr lang="en-US" dirty="0"/>
              <a:t>Hyposthenuria, renal impairment/failure, enuresis, proteinuria</a:t>
            </a:r>
          </a:p>
          <a:p>
            <a:pPr marL="1085850" lvl="2" indent="-171450">
              <a:buFont typeface="Arial" panose="020B0604020202020204" pitchFamily="34" charset="0"/>
              <a:buChar char="•"/>
            </a:pPr>
            <a:endParaRPr lang="en-US" dirty="0"/>
          </a:p>
          <a:p>
            <a:pPr marL="171450" lvl="0" indent="-171450">
              <a:buFont typeface="Arial" panose="020B0604020202020204" pitchFamily="34" charset="0"/>
              <a:buChar char="•"/>
            </a:pPr>
            <a:r>
              <a:rPr lang="en-GB" sz="1200" b="1" baseline="0" dirty="0">
                <a:solidFill>
                  <a:schemeClr val="tx1"/>
                </a:solidFill>
              </a:rPr>
              <a:t>During adulthood, </a:t>
            </a:r>
            <a:r>
              <a:rPr lang="en-US" dirty="0"/>
              <a:t>additional disease manifestations </a:t>
            </a:r>
            <a:r>
              <a:rPr lang="en-US" sz="1200" b="0" i="0" u="none" strike="noStrike" kern="1200" baseline="0" dirty="0">
                <a:solidFill>
                  <a:schemeClr val="tx1"/>
                </a:solidFill>
                <a:latin typeface="+mn-lt"/>
                <a:ea typeface="+mn-ea"/>
                <a:cs typeface="+mn-cs"/>
              </a:rPr>
              <a:t>include:</a:t>
            </a:r>
          </a:p>
          <a:p>
            <a:pPr marL="628650" lvl="1" indent="-171450">
              <a:buFont typeface="Arial" panose="020B0604020202020204" pitchFamily="34" charset="0"/>
              <a:buChar char="•"/>
            </a:pPr>
            <a:r>
              <a:rPr lang="en-US" sz="1200" b="0" i="0" u="none" strike="noStrike" kern="1200" baseline="0" dirty="0">
                <a:solidFill>
                  <a:schemeClr val="tx1"/>
                </a:solidFill>
                <a:latin typeface="+mn-lt"/>
                <a:ea typeface="+mn-ea"/>
                <a:cs typeface="+mn-cs"/>
              </a:rPr>
              <a:t>Progressive retinopathy</a:t>
            </a:r>
          </a:p>
          <a:p>
            <a:pPr marL="628650" lvl="1" indent="-171450">
              <a:buFont typeface="Arial" panose="020B0604020202020204" pitchFamily="34" charset="0"/>
              <a:buChar char="•"/>
            </a:pPr>
            <a:r>
              <a:rPr lang="en-US" sz="1200" b="0" i="0" u="none" strike="noStrike" kern="1200" baseline="0" dirty="0">
                <a:solidFill>
                  <a:schemeClr val="tx1"/>
                </a:solidFill>
                <a:latin typeface="+mn-lt"/>
                <a:ea typeface="+mn-ea"/>
                <a:cs typeface="+mn-cs"/>
              </a:rPr>
              <a:t>Pulmonary hypertension, chronic lung disease</a:t>
            </a:r>
          </a:p>
          <a:p>
            <a:pPr marL="628650" lvl="1" indent="-171450">
              <a:buFont typeface="Arial" panose="020B0604020202020204" pitchFamily="34" charset="0"/>
              <a:buChar char="•"/>
            </a:pPr>
            <a:r>
              <a:rPr lang="en-US" sz="1200" b="0" i="0" u="none" strike="noStrike" kern="1200" baseline="0" dirty="0">
                <a:solidFill>
                  <a:schemeClr val="tx1"/>
                </a:solidFill>
                <a:latin typeface="+mn-lt"/>
                <a:ea typeface="+mn-ea"/>
                <a:cs typeface="+mn-cs"/>
              </a:rPr>
              <a:t>Cardiomegaly, heart failure, premature coronary artery disease</a:t>
            </a:r>
          </a:p>
          <a:p>
            <a:pPr marL="628650" lvl="1" indent="-171450">
              <a:buFont typeface="Arial" panose="020B0604020202020204" pitchFamily="34" charset="0"/>
              <a:buChar char="•"/>
            </a:pPr>
            <a:r>
              <a:rPr lang="en-US" sz="1200" b="0" i="0" u="none" strike="noStrike" kern="1200" baseline="0" dirty="0">
                <a:solidFill>
                  <a:schemeClr val="tx1"/>
                </a:solidFill>
                <a:latin typeface="+mn-lt"/>
                <a:ea typeface="+mn-ea"/>
                <a:cs typeface="+mn-cs"/>
              </a:rPr>
              <a:t>Functional asplenia</a:t>
            </a:r>
          </a:p>
          <a:p>
            <a:pPr marL="628650" lvl="1" indent="-171450">
              <a:buFont typeface="Arial" panose="020B0604020202020204" pitchFamily="34" charset="0"/>
              <a:buChar char="•"/>
            </a:pPr>
            <a:r>
              <a:rPr lang="en-US" sz="1200" b="0" i="0" u="none" strike="noStrike" kern="1200" baseline="0" dirty="0">
                <a:solidFill>
                  <a:schemeClr val="tx1"/>
                </a:solidFill>
                <a:latin typeface="+mn-lt"/>
                <a:ea typeface="+mn-ea"/>
                <a:cs typeface="+mn-cs"/>
              </a:rPr>
              <a:t>Hepatic sequestration, liver failure (from </a:t>
            </a:r>
            <a:r>
              <a:rPr lang="en-US" sz="1200" b="0" i="0" u="none" strike="noStrike" kern="1200" baseline="0" dirty="0" err="1">
                <a:solidFill>
                  <a:schemeClr val="tx1"/>
                </a:solidFill>
                <a:latin typeface="+mn-lt"/>
                <a:ea typeface="+mn-ea"/>
                <a:cs typeface="+mn-cs"/>
              </a:rPr>
              <a:t>transfusional</a:t>
            </a:r>
            <a:r>
              <a:rPr lang="en-US" sz="1200" b="0" i="0" u="none" strike="noStrike" kern="1200" baseline="0" dirty="0">
                <a:solidFill>
                  <a:schemeClr val="tx1"/>
                </a:solidFill>
                <a:latin typeface="+mn-lt"/>
                <a:ea typeface="+mn-ea"/>
                <a:cs typeface="+mn-cs"/>
              </a:rPr>
              <a:t> iron overload)</a:t>
            </a:r>
          </a:p>
          <a:p>
            <a:pPr marL="628650" lvl="1" indent="-171450">
              <a:buFont typeface="Arial" panose="020B0604020202020204" pitchFamily="34" charset="0"/>
              <a:buChar char="•"/>
            </a:pPr>
            <a:r>
              <a:rPr lang="en-US" sz="1200" b="0" i="0" u="none" strike="noStrike" kern="1200" baseline="0" dirty="0">
                <a:solidFill>
                  <a:schemeClr val="tx1"/>
                </a:solidFill>
                <a:latin typeface="+mn-lt"/>
                <a:ea typeface="+mn-ea"/>
                <a:cs typeface="+mn-cs"/>
              </a:rPr>
              <a:t>Kidney failure, nephropathy, frequent urinary tract infections</a:t>
            </a:r>
          </a:p>
          <a:p>
            <a:pPr marL="628650" lvl="1" indent="-171450">
              <a:buFont typeface="Arial" panose="020B0604020202020204" pitchFamily="34" charset="0"/>
              <a:buChar char="•"/>
            </a:pPr>
            <a:r>
              <a:rPr lang="en-US" sz="1200" b="0" i="0" u="none" strike="noStrike" kern="1200" baseline="0" dirty="0">
                <a:solidFill>
                  <a:schemeClr val="tx1"/>
                </a:solidFill>
                <a:latin typeface="+mn-lt"/>
                <a:ea typeface="+mn-ea"/>
                <a:cs typeface="+mn-cs"/>
              </a:rPr>
              <a:t>Bone necrosis/early loss of bone density</a:t>
            </a:r>
          </a:p>
          <a:p>
            <a:pPr marL="457200" lvl="1" indent="0">
              <a:buFont typeface="Arial" panose="020B0604020202020204" pitchFamily="34" charset="0"/>
              <a:buNone/>
            </a:pPr>
            <a:endParaRPr lang="en-US" dirty="0"/>
          </a:p>
          <a:p>
            <a:pPr marL="628650" lvl="1" indent="-171450">
              <a:buFont typeface="Arial" panose="020B0604020202020204" pitchFamily="34" charset="0"/>
              <a:buChar char="•"/>
            </a:pPr>
            <a:endParaRPr lang="en-US" dirty="0"/>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b="1" baseline="0" dirty="0">
              <a:solidFill>
                <a:schemeClr val="tx1"/>
              </a:solidFill>
            </a:endParaRPr>
          </a:p>
          <a:p>
            <a:endParaRPr lang="en-US" dirty="0"/>
          </a:p>
        </p:txBody>
      </p:sp>
      <p:sp>
        <p:nvSpPr>
          <p:cNvPr id="4" name="Slide Number Placeholder 3"/>
          <p:cNvSpPr>
            <a:spLocks noGrp="1"/>
          </p:cNvSpPr>
          <p:nvPr>
            <p:ph type="sldNum" sz="quarter" idx="5"/>
          </p:nvPr>
        </p:nvSpPr>
        <p:spPr/>
        <p:txBody>
          <a:bodyPr/>
          <a:lstStyle/>
          <a:p>
            <a:fld id="{A16CFAD1-D197-4A88-B173-A6412E995EE5}" type="slidenum">
              <a:rPr lang="en-GB" smtClean="0"/>
              <a:pPr/>
              <a:t>4</a:t>
            </a:fld>
            <a:endParaRPr lang="en-GB" dirty="0"/>
          </a:p>
        </p:txBody>
      </p:sp>
    </p:spTree>
    <p:extLst>
      <p:ext uri="{BB962C8B-B14F-4D97-AF65-F5344CB8AC3E}">
        <p14:creationId xmlns:p14="http://schemas.microsoft.com/office/powerpoint/2010/main" val="38828268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llo, </a:t>
            </a:r>
          </a:p>
          <a:p>
            <a:endParaRPr lang="en-US" dirty="0"/>
          </a:p>
          <a:p>
            <a:r>
              <a:rPr lang="en-US" dirty="0"/>
              <a:t>We need to put silent stroke and overt stroke into the management of chronic complications.</a:t>
            </a:r>
          </a:p>
          <a:p>
            <a:endParaRPr lang="en-US" dirty="0"/>
          </a:p>
          <a:p>
            <a:r>
              <a:rPr lang="en-US" dirty="0"/>
              <a:t>For pulmonary hypertension we need to put NT-BNP and six minute walk</a:t>
            </a:r>
          </a:p>
        </p:txBody>
      </p:sp>
      <p:sp>
        <p:nvSpPr>
          <p:cNvPr id="4" name="Slide Number Placeholder 3"/>
          <p:cNvSpPr>
            <a:spLocks noGrp="1"/>
          </p:cNvSpPr>
          <p:nvPr>
            <p:ph type="sldNum" sz="quarter" idx="5"/>
          </p:nvPr>
        </p:nvSpPr>
        <p:spPr/>
        <p:txBody>
          <a:bodyPr/>
          <a:lstStyle/>
          <a:p>
            <a:fld id="{AA78EF07-8F61-4184-AF4C-2081B4E98112}" type="slidenum">
              <a:rPr lang="en-US" smtClean="0"/>
              <a:t>27</a:t>
            </a:fld>
            <a:endParaRPr lang="en-US" dirty="0"/>
          </a:p>
        </p:txBody>
      </p:sp>
    </p:spTree>
    <p:extLst>
      <p:ext uri="{BB962C8B-B14F-4D97-AF65-F5344CB8AC3E}">
        <p14:creationId xmlns:p14="http://schemas.microsoft.com/office/powerpoint/2010/main" val="11481812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lide is very important. It should be able to give the audience an overview on heterogenous picture of the disease in India. How the disease manifestations, presentation and complications differ from state to state in India. On what parameters the patients differ from Vidarbha region, Chhattisgarh, Madhya Pradesh, Odisha and Gujarat. What could be the cause for a genetic disease to manifest in myriad patterns may be discussed and call for further investigations / analysis.    </a:t>
            </a:r>
          </a:p>
        </p:txBody>
      </p:sp>
      <p:sp>
        <p:nvSpPr>
          <p:cNvPr id="4" name="Slide Number Placeholder 3"/>
          <p:cNvSpPr>
            <a:spLocks noGrp="1"/>
          </p:cNvSpPr>
          <p:nvPr>
            <p:ph type="sldNum" sz="quarter" idx="5"/>
          </p:nvPr>
        </p:nvSpPr>
        <p:spPr/>
        <p:txBody>
          <a:bodyPr/>
          <a:lstStyle/>
          <a:p>
            <a:fld id="{5AEE11D6-0A16-F64B-9462-0AE391BBED0A}" type="slidenum">
              <a:rPr lang="en-US" smtClean="0"/>
              <a:pPr/>
              <a:t>8</a:t>
            </a:fld>
            <a:endParaRPr lang="en-US"/>
          </a:p>
        </p:txBody>
      </p:sp>
    </p:spTree>
    <p:extLst>
      <p:ext uri="{BB962C8B-B14F-4D97-AF65-F5344CB8AC3E}">
        <p14:creationId xmlns:p14="http://schemas.microsoft.com/office/powerpoint/2010/main" val="29528703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need to include overt strokes management- DeBaun Blood Advances ASH guidelines</a:t>
            </a:r>
          </a:p>
        </p:txBody>
      </p:sp>
      <p:sp>
        <p:nvSpPr>
          <p:cNvPr id="4" name="Slide Number Placeholder 3"/>
          <p:cNvSpPr>
            <a:spLocks noGrp="1"/>
          </p:cNvSpPr>
          <p:nvPr>
            <p:ph type="sldNum" sz="quarter" idx="5"/>
          </p:nvPr>
        </p:nvSpPr>
        <p:spPr/>
        <p:txBody>
          <a:bodyPr/>
          <a:lstStyle/>
          <a:p>
            <a:fld id="{AA78EF07-8F61-4184-AF4C-2081B4E98112}" type="slidenum">
              <a:rPr lang="en-US" smtClean="0"/>
              <a:t>14</a:t>
            </a:fld>
            <a:endParaRPr lang="en-US" dirty="0"/>
          </a:p>
        </p:txBody>
      </p:sp>
    </p:spTree>
    <p:extLst>
      <p:ext uri="{BB962C8B-B14F-4D97-AF65-F5344CB8AC3E}">
        <p14:creationId xmlns:p14="http://schemas.microsoft.com/office/powerpoint/2010/main" val="20567077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need to include overt strokes management- DeBaun Blood Advances ASH guidelines</a:t>
            </a:r>
          </a:p>
        </p:txBody>
      </p:sp>
      <p:sp>
        <p:nvSpPr>
          <p:cNvPr id="4" name="Slide Number Placeholder 3"/>
          <p:cNvSpPr>
            <a:spLocks noGrp="1"/>
          </p:cNvSpPr>
          <p:nvPr>
            <p:ph type="sldNum" sz="quarter" idx="5"/>
          </p:nvPr>
        </p:nvSpPr>
        <p:spPr/>
        <p:txBody>
          <a:bodyPr/>
          <a:lstStyle/>
          <a:p>
            <a:fld id="{AA78EF07-8F61-4184-AF4C-2081B4E98112}" type="slidenum">
              <a:rPr lang="en-US" smtClean="0"/>
              <a:t>15</a:t>
            </a:fld>
            <a:endParaRPr lang="en-US" dirty="0"/>
          </a:p>
        </p:txBody>
      </p:sp>
    </p:spTree>
    <p:extLst>
      <p:ext uri="{BB962C8B-B14F-4D97-AF65-F5344CB8AC3E}">
        <p14:creationId xmlns:p14="http://schemas.microsoft.com/office/powerpoint/2010/main" val="17675006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llo, </a:t>
            </a:r>
          </a:p>
          <a:p>
            <a:endParaRPr lang="en-US" dirty="0"/>
          </a:p>
          <a:p>
            <a:r>
              <a:rPr lang="en-US" dirty="0"/>
              <a:t>We need to put silent stroke and overt stroke into the management of chronic complications.</a:t>
            </a:r>
          </a:p>
          <a:p>
            <a:endParaRPr lang="en-US" dirty="0"/>
          </a:p>
          <a:p>
            <a:r>
              <a:rPr lang="en-US" dirty="0"/>
              <a:t>For pulmonary hypertension we need to put NT-BNP and six minute walk</a:t>
            </a:r>
          </a:p>
        </p:txBody>
      </p:sp>
      <p:sp>
        <p:nvSpPr>
          <p:cNvPr id="4" name="Slide Number Placeholder 3"/>
          <p:cNvSpPr>
            <a:spLocks noGrp="1"/>
          </p:cNvSpPr>
          <p:nvPr>
            <p:ph type="sldNum" sz="quarter" idx="5"/>
          </p:nvPr>
        </p:nvSpPr>
        <p:spPr/>
        <p:txBody>
          <a:bodyPr/>
          <a:lstStyle/>
          <a:p>
            <a:fld id="{AA78EF07-8F61-4184-AF4C-2081B4E98112}" type="slidenum">
              <a:rPr lang="en-US" smtClean="0"/>
              <a:t>22</a:t>
            </a:fld>
            <a:endParaRPr lang="en-US" dirty="0"/>
          </a:p>
        </p:txBody>
      </p:sp>
    </p:spTree>
    <p:extLst>
      <p:ext uri="{BB962C8B-B14F-4D97-AF65-F5344CB8AC3E}">
        <p14:creationId xmlns:p14="http://schemas.microsoft.com/office/powerpoint/2010/main" val="30888937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llo, </a:t>
            </a:r>
          </a:p>
          <a:p>
            <a:endParaRPr lang="en-US" dirty="0"/>
          </a:p>
          <a:p>
            <a:r>
              <a:rPr lang="en-US" dirty="0"/>
              <a:t>We need to put silent stroke and overt stroke into the management of chronic complications.</a:t>
            </a:r>
          </a:p>
          <a:p>
            <a:endParaRPr lang="en-US" dirty="0"/>
          </a:p>
          <a:p>
            <a:r>
              <a:rPr lang="en-US" dirty="0"/>
              <a:t>For pulmonary hypertension we need to put NT-BNP and six minute walk</a:t>
            </a:r>
          </a:p>
        </p:txBody>
      </p:sp>
      <p:sp>
        <p:nvSpPr>
          <p:cNvPr id="4" name="Slide Number Placeholder 3"/>
          <p:cNvSpPr>
            <a:spLocks noGrp="1"/>
          </p:cNvSpPr>
          <p:nvPr>
            <p:ph type="sldNum" sz="quarter" idx="5"/>
          </p:nvPr>
        </p:nvSpPr>
        <p:spPr/>
        <p:txBody>
          <a:bodyPr/>
          <a:lstStyle/>
          <a:p>
            <a:fld id="{AA78EF07-8F61-4184-AF4C-2081B4E98112}" type="slidenum">
              <a:rPr lang="en-US" smtClean="0"/>
              <a:t>23</a:t>
            </a:fld>
            <a:endParaRPr lang="en-US" dirty="0"/>
          </a:p>
        </p:txBody>
      </p:sp>
    </p:spTree>
    <p:extLst>
      <p:ext uri="{BB962C8B-B14F-4D97-AF65-F5344CB8AC3E}">
        <p14:creationId xmlns:p14="http://schemas.microsoft.com/office/powerpoint/2010/main" val="4247649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llo, </a:t>
            </a:r>
          </a:p>
          <a:p>
            <a:endParaRPr lang="en-US" dirty="0"/>
          </a:p>
          <a:p>
            <a:r>
              <a:rPr lang="en-US" dirty="0"/>
              <a:t>We need to put silent stroke and overt stroke into the management of chronic complications.</a:t>
            </a:r>
          </a:p>
          <a:p>
            <a:endParaRPr lang="en-US" dirty="0"/>
          </a:p>
          <a:p>
            <a:r>
              <a:rPr lang="en-US" dirty="0"/>
              <a:t>For pulmonary hypertension we need to put NT-BNP and six minute walk</a:t>
            </a:r>
          </a:p>
        </p:txBody>
      </p:sp>
      <p:sp>
        <p:nvSpPr>
          <p:cNvPr id="4" name="Slide Number Placeholder 3"/>
          <p:cNvSpPr>
            <a:spLocks noGrp="1"/>
          </p:cNvSpPr>
          <p:nvPr>
            <p:ph type="sldNum" sz="quarter" idx="5"/>
          </p:nvPr>
        </p:nvSpPr>
        <p:spPr/>
        <p:txBody>
          <a:bodyPr/>
          <a:lstStyle/>
          <a:p>
            <a:fld id="{AA78EF07-8F61-4184-AF4C-2081B4E98112}" type="slidenum">
              <a:rPr lang="en-US" smtClean="0"/>
              <a:t>24</a:t>
            </a:fld>
            <a:endParaRPr lang="en-US" dirty="0"/>
          </a:p>
        </p:txBody>
      </p:sp>
    </p:spTree>
    <p:extLst>
      <p:ext uri="{BB962C8B-B14F-4D97-AF65-F5344CB8AC3E}">
        <p14:creationId xmlns:p14="http://schemas.microsoft.com/office/powerpoint/2010/main" val="29398740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llo, </a:t>
            </a:r>
          </a:p>
          <a:p>
            <a:endParaRPr lang="en-US" dirty="0"/>
          </a:p>
          <a:p>
            <a:r>
              <a:rPr lang="en-US" dirty="0"/>
              <a:t>We need to put silent stroke and overt stroke into the management of chronic complications.</a:t>
            </a:r>
          </a:p>
          <a:p>
            <a:endParaRPr lang="en-US" dirty="0"/>
          </a:p>
          <a:p>
            <a:r>
              <a:rPr lang="en-US" dirty="0"/>
              <a:t>For pulmonary hypertension we need to put NT-BNP and six minute walk</a:t>
            </a:r>
          </a:p>
        </p:txBody>
      </p:sp>
      <p:sp>
        <p:nvSpPr>
          <p:cNvPr id="4" name="Slide Number Placeholder 3"/>
          <p:cNvSpPr>
            <a:spLocks noGrp="1"/>
          </p:cNvSpPr>
          <p:nvPr>
            <p:ph type="sldNum" sz="quarter" idx="5"/>
          </p:nvPr>
        </p:nvSpPr>
        <p:spPr/>
        <p:txBody>
          <a:bodyPr/>
          <a:lstStyle/>
          <a:p>
            <a:fld id="{AA78EF07-8F61-4184-AF4C-2081B4E98112}" type="slidenum">
              <a:rPr lang="en-US" smtClean="0"/>
              <a:t>25</a:t>
            </a:fld>
            <a:endParaRPr lang="en-US" dirty="0"/>
          </a:p>
        </p:txBody>
      </p:sp>
    </p:spTree>
    <p:extLst>
      <p:ext uri="{BB962C8B-B14F-4D97-AF65-F5344CB8AC3E}">
        <p14:creationId xmlns:p14="http://schemas.microsoft.com/office/powerpoint/2010/main" val="41662868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llo, </a:t>
            </a:r>
          </a:p>
          <a:p>
            <a:endParaRPr lang="en-US" dirty="0"/>
          </a:p>
          <a:p>
            <a:r>
              <a:rPr lang="en-US" dirty="0"/>
              <a:t>We need to put silent stroke and overt stroke into the management of chronic complications.</a:t>
            </a:r>
          </a:p>
          <a:p>
            <a:endParaRPr lang="en-US" dirty="0"/>
          </a:p>
          <a:p>
            <a:r>
              <a:rPr lang="en-US" dirty="0"/>
              <a:t>For pulmonary hypertension we need to put NT-BNP and six minute walk</a:t>
            </a:r>
          </a:p>
        </p:txBody>
      </p:sp>
      <p:sp>
        <p:nvSpPr>
          <p:cNvPr id="4" name="Slide Number Placeholder 3"/>
          <p:cNvSpPr>
            <a:spLocks noGrp="1"/>
          </p:cNvSpPr>
          <p:nvPr>
            <p:ph type="sldNum" sz="quarter" idx="5"/>
          </p:nvPr>
        </p:nvSpPr>
        <p:spPr/>
        <p:txBody>
          <a:bodyPr/>
          <a:lstStyle/>
          <a:p>
            <a:fld id="{AA78EF07-8F61-4184-AF4C-2081B4E98112}" type="slidenum">
              <a:rPr lang="en-US" smtClean="0"/>
              <a:t>26</a:t>
            </a:fld>
            <a:endParaRPr lang="en-US" dirty="0"/>
          </a:p>
        </p:txBody>
      </p:sp>
    </p:spTree>
    <p:extLst>
      <p:ext uri="{BB962C8B-B14F-4D97-AF65-F5344CB8AC3E}">
        <p14:creationId xmlns:p14="http://schemas.microsoft.com/office/powerpoint/2010/main" val="307511267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1BE527-4361-F5A3-7369-8B99E08697C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IN"/>
          </a:p>
        </p:txBody>
      </p:sp>
      <p:sp>
        <p:nvSpPr>
          <p:cNvPr id="3" name="Subtitle 2">
            <a:extLst>
              <a:ext uri="{FF2B5EF4-FFF2-40B4-BE49-F238E27FC236}">
                <a16:creationId xmlns:a16="http://schemas.microsoft.com/office/drawing/2014/main" id="{DB11D8DC-BBB3-8CEA-3312-FC648D69DA6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IN"/>
          </a:p>
        </p:txBody>
      </p:sp>
      <p:sp>
        <p:nvSpPr>
          <p:cNvPr id="4" name="Date Placeholder 3">
            <a:extLst>
              <a:ext uri="{FF2B5EF4-FFF2-40B4-BE49-F238E27FC236}">
                <a16:creationId xmlns:a16="http://schemas.microsoft.com/office/drawing/2014/main" id="{D50C1455-8269-8B48-7D7D-CBF2EF00E17F}"/>
              </a:ext>
            </a:extLst>
          </p:cNvPr>
          <p:cNvSpPr>
            <a:spLocks noGrp="1"/>
          </p:cNvSpPr>
          <p:nvPr>
            <p:ph type="dt" sz="half" idx="10"/>
          </p:nvPr>
        </p:nvSpPr>
        <p:spPr/>
        <p:txBody>
          <a:bodyPr/>
          <a:lstStyle/>
          <a:p>
            <a:fld id="{056F0F19-FB49-486F-A2A1-DC5A2D1913F6}" type="datetimeFigureOut">
              <a:rPr lang="en-IN" smtClean="0"/>
              <a:t>22-10-2024</a:t>
            </a:fld>
            <a:endParaRPr lang="en-IN"/>
          </a:p>
        </p:txBody>
      </p:sp>
      <p:sp>
        <p:nvSpPr>
          <p:cNvPr id="5" name="Footer Placeholder 4">
            <a:extLst>
              <a:ext uri="{FF2B5EF4-FFF2-40B4-BE49-F238E27FC236}">
                <a16:creationId xmlns:a16="http://schemas.microsoft.com/office/drawing/2014/main" id="{8BE03196-60D9-9CCA-BBDA-FE28F8A0C23F}"/>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94A765DE-18FD-A4F2-51FA-87D9DE0E9ADB}"/>
              </a:ext>
            </a:extLst>
          </p:cNvPr>
          <p:cNvSpPr>
            <a:spLocks noGrp="1"/>
          </p:cNvSpPr>
          <p:nvPr>
            <p:ph type="sldNum" sz="quarter" idx="12"/>
          </p:nvPr>
        </p:nvSpPr>
        <p:spPr/>
        <p:txBody>
          <a:bodyPr/>
          <a:lstStyle/>
          <a:p>
            <a:fld id="{77D51B2C-8FC3-434B-B750-9AB529C1A988}" type="slidenum">
              <a:rPr lang="en-IN" smtClean="0"/>
              <a:t>‹#›</a:t>
            </a:fld>
            <a:endParaRPr lang="en-IN"/>
          </a:p>
        </p:txBody>
      </p:sp>
    </p:spTree>
    <p:extLst>
      <p:ext uri="{BB962C8B-B14F-4D97-AF65-F5344CB8AC3E}">
        <p14:creationId xmlns:p14="http://schemas.microsoft.com/office/powerpoint/2010/main" val="29684910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FBE3D8-ED7A-A08D-5F5A-AE166148AD86}"/>
              </a:ext>
            </a:extLst>
          </p:cNvPr>
          <p:cNvSpPr>
            <a:spLocks noGrp="1"/>
          </p:cNvSpPr>
          <p:nvPr>
            <p:ph type="title"/>
          </p:nvPr>
        </p:nvSpPr>
        <p:spPr/>
        <p:txBody>
          <a:bodyPr/>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A965F783-083C-EB5B-617C-73287EC6891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5D9D1F91-650D-8284-B552-5EA441382090}"/>
              </a:ext>
            </a:extLst>
          </p:cNvPr>
          <p:cNvSpPr>
            <a:spLocks noGrp="1"/>
          </p:cNvSpPr>
          <p:nvPr>
            <p:ph type="dt" sz="half" idx="10"/>
          </p:nvPr>
        </p:nvSpPr>
        <p:spPr/>
        <p:txBody>
          <a:bodyPr/>
          <a:lstStyle/>
          <a:p>
            <a:fld id="{056F0F19-FB49-486F-A2A1-DC5A2D1913F6}" type="datetimeFigureOut">
              <a:rPr lang="en-IN" smtClean="0"/>
              <a:t>22-10-2024</a:t>
            </a:fld>
            <a:endParaRPr lang="en-IN"/>
          </a:p>
        </p:txBody>
      </p:sp>
      <p:sp>
        <p:nvSpPr>
          <p:cNvPr id="5" name="Footer Placeholder 4">
            <a:extLst>
              <a:ext uri="{FF2B5EF4-FFF2-40B4-BE49-F238E27FC236}">
                <a16:creationId xmlns:a16="http://schemas.microsoft.com/office/drawing/2014/main" id="{C1712689-D947-0D43-9A62-2EE6038930EE}"/>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71FD3D3A-51B1-17CB-53D1-7E0108A586F2}"/>
              </a:ext>
            </a:extLst>
          </p:cNvPr>
          <p:cNvSpPr>
            <a:spLocks noGrp="1"/>
          </p:cNvSpPr>
          <p:nvPr>
            <p:ph type="sldNum" sz="quarter" idx="12"/>
          </p:nvPr>
        </p:nvSpPr>
        <p:spPr/>
        <p:txBody>
          <a:bodyPr/>
          <a:lstStyle/>
          <a:p>
            <a:fld id="{77D51B2C-8FC3-434B-B750-9AB529C1A988}" type="slidenum">
              <a:rPr lang="en-IN" smtClean="0"/>
              <a:t>‹#›</a:t>
            </a:fld>
            <a:endParaRPr lang="en-IN"/>
          </a:p>
        </p:txBody>
      </p:sp>
    </p:spTree>
    <p:extLst>
      <p:ext uri="{BB962C8B-B14F-4D97-AF65-F5344CB8AC3E}">
        <p14:creationId xmlns:p14="http://schemas.microsoft.com/office/powerpoint/2010/main" val="210737407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29B61D3-0347-0047-A701-97DB17809543}"/>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IN"/>
          </a:p>
        </p:txBody>
      </p:sp>
      <p:sp>
        <p:nvSpPr>
          <p:cNvPr id="3" name="Vertical Text Placeholder 2">
            <a:extLst>
              <a:ext uri="{FF2B5EF4-FFF2-40B4-BE49-F238E27FC236}">
                <a16:creationId xmlns:a16="http://schemas.microsoft.com/office/drawing/2014/main" id="{029C89EB-17A3-74F6-7205-64730FFF094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3A39427E-4539-74CD-FAA4-4007CFB525E3}"/>
              </a:ext>
            </a:extLst>
          </p:cNvPr>
          <p:cNvSpPr>
            <a:spLocks noGrp="1"/>
          </p:cNvSpPr>
          <p:nvPr>
            <p:ph type="dt" sz="half" idx="10"/>
          </p:nvPr>
        </p:nvSpPr>
        <p:spPr/>
        <p:txBody>
          <a:bodyPr/>
          <a:lstStyle/>
          <a:p>
            <a:fld id="{056F0F19-FB49-486F-A2A1-DC5A2D1913F6}" type="datetimeFigureOut">
              <a:rPr lang="en-IN" smtClean="0"/>
              <a:t>22-10-2024</a:t>
            </a:fld>
            <a:endParaRPr lang="en-IN"/>
          </a:p>
        </p:txBody>
      </p:sp>
      <p:sp>
        <p:nvSpPr>
          <p:cNvPr id="5" name="Footer Placeholder 4">
            <a:extLst>
              <a:ext uri="{FF2B5EF4-FFF2-40B4-BE49-F238E27FC236}">
                <a16:creationId xmlns:a16="http://schemas.microsoft.com/office/drawing/2014/main" id="{D86F9A31-84CE-CB64-3EB1-FBD0113F2248}"/>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BFEC0831-A215-4935-51DA-4B9867147C59}"/>
              </a:ext>
            </a:extLst>
          </p:cNvPr>
          <p:cNvSpPr>
            <a:spLocks noGrp="1"/>
          </p:cNvSpPr>
          <p:nvPr>
            <p:ph type="sldNum" sz="quarter" idx="12"/>
          </p:nvPr>
        </p:nvSpPr>
        <p:spPr/>
        <p:txBody>
          <a:bodyPr/>
          <a:lstStyle/>
          <a:p>
            <a:fld id="{77D51B2C-8FC3-434B-B750-9AB529C1A988}" type="slidenum">
              <a:rPr lang="en-IN" smtClean="0"/>
              <a:t>‹#›</a:t>
            </a:fld>
            <a:endParaRPr lang="en-IN"/>
          </a:p>
        </p:txBody>
      </p:sp>
    </p:spTree>
    <p:extLst>
      <p:ext uri="{BB962C8B-B14F-4D97-AF65-F5344CB8AC3E}">
        <p14:creationId xmlns:p14="http://schemas.microsoft.com/office/powerpoint/2010/main" val="26504366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noProof="0" dirty="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r>
              <a:rPr lang="en-GB" dirty="0"/>
              <a:t>Rare Blood Disorders Pipeline</a:t>
            </a:r>
            <a:endParaRPr lang="en-US" dirty="0"/>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US" smtClean="0"/>
              <a:t>‹#›</a:t>
            </a:fld>
            <a:endParaRPr lang="en-US" dirty="0"/>
          </a:p>
        </p:txBody>
      </p:sp>
      <p:sp>
        <p:nvSpPr>
          <p:cNvPr id="11" name="Text Placeholder 4">
            <a:extLst>
              <a:ext uri="{FF2B5EF4-FFF2-40B4-BE49-F238E27FC236}">
                <a16:creationId xmlns:a16="http://schemas.microsoft.com/office/drawing/2014/main" id="{C16868FC-B7DE-4736-A8C4-5762DBFD1FC2}"/>
              </a:ext>
            </a:extLst>
          </p:cNvPr>
          <p:cNvSpPr>
            <a:spLocks noGrp="1"/>
          </p:cNvSpPr>
          <p:nvPr>
            <p:ph type="body" sz="quarter" idx="13" hasCustomPrompt="1"/>
          </p:nvPr>
        </p:nvSpPr>
        <p:spPr>
          <a:xfrm>
            <a:off x="647999" y="6210000"/>
            <a:ext cx="8652000" cy="324000"/>
          </a:xfrm>
        </p:spPr>
        <p:txBody>
          <a:bodyPr anchor="b"/>
          <a:lstStyle>
            <a:lvl1pPr marL="0" indent="0">
              <a:buNone/>
              <a:defRPr sz="800" i="1">
                <a:solidFill>
                  <a:schemeClr val="accent6"/>
                </a:solidFill>
              </a:defRPr>
            </a:lvl1pPr>
          </a:lstStyle>
          <a:p>
            <a:pPr lvl="0"/>
            <a:r>
              <a:rPr lang="en-US" dirty="0"/>
              <a:t>Insert notes</a:t>
            </a:r>
          </a:p>
        </p:txBody>
      </p:sp>
    </p:spTree>
    <p:extLst>
      <p:ext uri="{BB962C8B-B14F-4D97-AF65-F5344CB8AC3E}">
        <p14:creationId xmlns:p14="http://schemas.microsoft.com/office/powerpoint/2010/main" val="221154292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Content_footnotes">
    <p:bg>
      <p:bgRef idx="1001">
        <a:schemeClr val="bg1"/>
      </p:bgRef>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48B63C9C-7C07-FD4D-9EE4-A78DB4C58637}"/>
              </a:ext>
            </a:extLst>
          </p:cNvPr>
          <p:cNvSpPr/>
          <p:nvPr userDrawn="1"/>
        </p:nvSpPr>
        <p:spPr>
          <a:xfrm>
            <a:off x="182034" y="1422400"/>
            <a:ext cx="11827933" cy="4292600"/>
          </a:xfrm>
          <a:prstGeom prst="rect">
            <a:avLst/>
          </a:prstGeom>
          <a:solidFill>
            <a:schemeClr val="bg1">
              <a:lumMod val="95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Content Placeholder 2">
            <a:extLst>
              <a:ext uri="{FF2B5EF4-FFF2-40B4-BE49-F238E27FC236}">
                <a16:creationId xmlns:a16="http://schemas.microsoft.com/office/drawing/2014/main" id="{65F2591D-9B3E-4744-84C9-AFDD6CA697D8}"/>
              </a:ext>
            </a:extLst>
          </p:cNvPr>
          <p:cNvSpPr>
            <a:spLocks noGrp="1"/>
          </p:cNvSpPr>
          <p:nvPr>
            <p:ph idx="1"/>
          </p:nvPr>
        </p:nvSpPr>
        <p:spPr>
          <a:xfrm>
            <a:off x="367748" y="2131443"/>
            <a:ext cx="10904310" cy="3554495"/>
          </a:xfrm>
        </p:spPr>
        <p:txBody>
          <a:bodyPr vert="horz" lIns="0" tIns="45720" rIns="91440" bIns="45720" rtlCol="0">
            <a:noAutofit/>
          </a:bodyPr>
          <a:lstStyle>
            <a:lvl1pPr marL="182880" indent="-182880">
              <a:spcBef>
                <a:spcPts val="600"/>
              </a:spcBef>
              <a:buFont typeface="Arial" panose="020B0604020202020204" pitchFamily="34" charset="0"/>
              <a:buChar char="•"/>
              <a:defRPr lang="en-US" sz="1600"/>
            </a:lvl1pPr>
            <a:lvl2pPr marL="457200" indent="-182880">
              <a:buFont typeface="System Font Regular"/>
              <a:buChar char="–"/>
              <a:defRPr lang="en-US" sz="1600"/>
            </a:lvl2pPr>
            <a:lvl3pPr marL="731520" indent="-182880">
              <a:defRPr lang="en-US" sz="1600"/>
            </a:lvl3pPr>
            <a:lvl4pPr marL="1005840" indent="-182880">
              <a:buFont typeface="Arial" panose="020B0604020202020204" pitchFamily="34" charset="0"/>
              <a:buChar char="•"/>
              <a:defRPr lang="en-US" sz="1600"/>
            </a:lvl4pPr>
            <a:lvl5pPr marL="1280160" indent="-182880">
              <a:defRPr lang="en-US" sz="1600" dirty="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5">
            <a:extLst>
              <a:ext uri="{FF2B5EF4-FFF2-40B4-BE49-F238E27FC236}">
                <a16:creationId xmlns:a16="http://schemas.microsoft.com/office/drawing/2014/main" id="{BBB83895-A732-0F47-830F-8F3B5FD4E3B6}"/>
              </a:ext>
            </a:extLst>
          </p:cNvPr>
          <p:cNvSpPr>
            <a:spLocks noGrp="1"/>
          </p:cNvSpPr>
          <p:nvPr>
            <p:ph type="sldNum" sz="quarter" idx="4"/>
          </p:nvPr>
        </p:nvSpPr>
        <p:spPr>
          <a:xfrm>
            <a:off x="88899" y="5997677"/>
            <a:ext cx="487173" cy="788605"/>
          </a:xfrm>
          <a:prstGeom prst="rect">
            <a:avLst/>
          </a:prstGeom>
        </p:spPr>
        <p:txBody>
          <a:bodyPr vert="horz" lIns="91440" tIns="45720" rIns="91440" bIns="45720" rtlCol="0" anchor="ctr"/>
          <a:lstStyle>
            <a:lvl1pPr algn="ctr">
              <a:defRPr sz="1200" b="1">
                <a:solidFill>
                  <a:schemeClr val="bg1">
                    <a:lumMod val="50000"/>
                  </a:schemeClr>
                </a:solidFill>
              </a:defRPr>
            </a:lvl1pPr>
          </a:lstStyle>
          <a:p>
            <a:fld id="{2FFABDD2-487E-0C43-8A6D-99B948FED6D5}" type="slidenum">
              <a:rPr lang="en-US" smtClean="0"/>
              <a:pPr/>
              <a:t>‹#›</a:t>
            </a:fld>
            <a:endParaRPr lang="en-US"/>
          </a:p>
        </p:txBody>
      </p:sp>
      <p:graphicFrame>
        <p:nvGraphicFramePr>
          <p:cNvPr id="7" name="Object 6" hidden="1">
            <a:extLst>
              <a:ext uri="{FF2B5EF4-FFF2-40B4-BE49-F238E27FC236}">
                <a16:creationId xmlns:a16="http://schemas.microsoft.com/office/drawing/2014/main" id="{F50D80C3-4740-4554-84F3-225982A60843}"/>
              </a:ext>
            </a:extLst>
          </p:cNvPr>
          <p:cNvGraphicFramePr>
            <a:graphicFrameLocks noChangeAspect="1"/>
          </p:cNvGraphicFramePr>
          <p:nvPr>
            <p:custDataLst>
              <p:tags r:id="rId1"/>
            </p:custDataLst>
            <p:extLst>
              <p:ext uri="{D42A27DB-BD31-4B8C-83A1-F6EECF244321}">
                <p14:modId xmlns:p14="http://schemas.microsoft.com/office/powerpoint/2010/main" val="715798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F50D80C3-4740-4554-84F3-225982A6084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5C7F504-2931-422A-8D40-D8C9EE34A31C}"/>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38DC4307-104C-E740-9FD3-3FE7BD20D2A6}"/>
              </a:ext>
            </a:extLst>
          </p:cNvPr>
          <p:cNvSpPr>
            <a:spLocks noGrp="1"/>
          </p:cNvSpPr>
          <p:nvPr>
            <p:ph type="title"/>
          </p:nvPr>
        </p:nvSpPr>
        <p:spPr>
          <a:xfrm>
            <a:off x="367749" y="672742"/>
            <a:ext cx="11188946" cy="632365"/>
          </a:xfrm>
        </p:spPr>
        <p:txBody>
          <a:bodyPr>
            <a:noAutofit/>
          </a:bodyPr>
          <a:lstStyle/>
          <a:p>
            <a:r>
              <a:rPr lang="en-US"/>
              <a:t>Click to edit Master title style</a:t>
            </a:r>
          </a:p>
        </p:txBody>
      </p:sp>
      <p:sp>
        <p:nvSpPr>
          <p:cNvPr id="10" name="Content Placeholder 2">
            <a:extLst>
              <a:ext uri="{FF2B5EF4-FFF2-40B4-BE49-F238E27FC236}">
                <a16:creationId xmlns:a16="http://schemas.microsoft.com/office/drawing/2014/main" id="{B9EC1546-74D4-2349-8758-E483B75C55BD}"/>
              </a:ext>
            </a:extLst>
          </p:cNvPr>
          <p:cNvSpPr>
            <a:spLocks noGrp="1"/>
          </p:cNvSpPr>
          <p:nvPr>
            <p:ph idx="23"/>
          </p:nvPr>
        </p:nvSpPr>
        <p:spPr>
          <a:xfrm>
            <a:off x="367748" y="1558490"/>
            <a:ext cx="5779051" cy="403348"/>
          </a:xfrm>
        </p:spPr>
        <p:txBody>
          <a:bodyPr vert="horz" lIns="0" tIns="45720" rIns="91440" bIns="45720" rtlCol="0" anchor="b" anchorCtr="0">
            <a:noAutofit/>
          </a:bodyPr>
          <a:lstStyle>
            <a:lvl1pPr marL="0" indent="0">
              <a:buFont typeface="Arial" panose="020B0604020202020204" pitchFamily="34" charset="0"/>
              <a:buNone/>
              <a:defRPr lang="en-US" sz="2000" b="0">
                <a:solidFill>
                  <a:schemeClr val="accent3"/>
                </a:solidFill>
              </a:defRPr>
            </a:lvl1pPr>
            <a:lvl2pPr marL="228600" indent="0">
              <a:buFont typeface="Arial" panose="020B0604020202020204" pitchFamily="34" charset="0"/>
              <a:buNone/>
              <a:defRPr lang="en-US" sz="2000"/>
            </a:lvl2pPr>
            <a:lvl3pPr marL="685800" indent="0">
              <a:buNone/>
              <a:defRPr lang="en-US" sz="1800"/>
            </a:lvl3pPr>
            <a:lvl4pPr marL="1143000" indent="0">
              <a:buNone/>
              <a:defRPr lang="en-US" sz="1600"/>
            </a:lvl4pPr>
            <a:lvl5pPr marL="1600200" indent="0">
              <a:buNone/>
              <a:defRPr lang="en-US" sz="1600" dirty="0"/>
            </a:lvl5pPr>
          </a:lstStyle>
          <a:p>
            <a:pPr lvl="0"/>
            <a:r>
              <a:rPr lang="en-US"/>
              <a:t>Click to edit Master text styles</a:t>
            </a:r>
          </a:p>
        </p:txBody>
      </p:sp>
    </p:spTree>
    <p:extLst>
      <p:ext uri="{BB962C8B-B14F-4D97-AF65-F5344CB8AC3E}">
        <p14:creationId xmlns:p14="http://schemas.microsoft.com/office/powerpoint/2010/main" val="39724041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257D5E-7F70-295B-5B51-A142621BF0D1}"/>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6A1B7F2B-FD7D-060D-5A38-E4A02C350FA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755FE460-D604-F4BB-EED2-ECE2A9785EDD}"/>
              </a:ext>
            </a:extLst>
          </p:cNvPr>
          <p:cNvSpPr>
            <a:spLocks noGrp="1"/>
          </p:cNvSpPr>
          <p:nvPr>
            <p:ph type="dt" sz="half" idx="10"/>
          </p:nvPr>
        </p:nvSpPr>
        <p:spPr/>
        <p:txBody>
          <a:bodyPr/>
          <a:lstStyle/>
          <a:p>
            <a:fld id="{056F0F19-FB49-486F-A2A1-DC5A2D1913F6}" type="datetimeFigureOut">
              <a:rPr lang="en-IN" smtClean="0"/>
              <a:t>22-10-2024</a:t>
            </a:fld>
            <a:endParaRPr lang="en-IN"/>
          </a:p>
        </p:txBody>
      </p:sp>
      <p:sp>
        <p:nvSpPr>
          <p:cNvPr id="5" name="Footer Placeholder 4">
            <a:extLst>
              <a:ext uri="{FF2B5EF4-FFF2-40B4-BE49-F238E27FC236}">
                <a16:creationId xmlns:a16="http://schemas.microsoft.com/office/drawing/2014/main" id="{165D2AD9-ABF3-D9A1-F9D1-BE02DD3D21CE}"/>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685A285A-B6AC-66AB-5726-1ECFE32C48FC}"/>
              </a:ext>
            </a:extLst>
          </p:cNvPr>
          <p:cNvSpPr>
            <a:spLocks noGrp="1"/>
          </p:cNvSpPr>
          <p:nvPr>
            <p:ph type="sldNum" sz="quarter" idx="12"/>
          </p:nvPr>
        </p:nvSpPr>
        <p:spPr/>
        <p:txBody>
          <a:bodyPr/>
          <a:lstStyle/>
          <a:p>
            <a:fld id="{77D51B2C-8FC3-434B-B750-9AB529C1A988}" type="slidenum">
              <a:rPr lang="en-IN" smtClean="0"/>
              <a:t>‹#›</a:t>
            </a:fld>
            <a:endParaRPr lang="en-IN"/>
          </a:p>
        </p:txBody>
      </p:sp>
    </p:spTree>
    <p:extLst>
      <p:ext uri="{BB962C8B-B14F-4D97-AF65-F5344CB8AC3E}">
        <p14:creationId xmlns:p14="http://schemas.microsoft.com/office/powerpoint/2010/main" val="41844135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766694-B784-290B-CC56-4D14EC1D361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IN"/>
          </a:p>
        </p:txBody>
      </p:sp>
      <p:sp>
        <p:nvSpPr>
          <p:cNvPr id="3" name="Text Placeholder 2">
            <a:extLst>
              <a:ext uri="{FF2B5EF4-FFF2-40B4-BE49-F238E27FC236}">
                <a16:creationId xmlns:a16="http://schemas.microsoft.com/office/drawing/2014/main" id="{976CD3B2-4D5F-9103-3ECA-80D0BA07E6FD}"/>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2041DE9-ECC0-8F69-41A9-9C8A9EB63238}"/>
              </a:ext>
            </a:extLst>
          </p:cNvPr>
          <p:cNvSpPr>
            <a:spLocks noGrp="1"/>
          </p:cNvSpPr>
          <p:nvPr>
            <p:ph type="dt" sz="half" idx="10"/>
          </p:nvPr>
        </p:nvSpPr>
        <p:spPr/>
        <p:txBody>
          <a:bodyPr/>
          <a:lstStyle/>
          <a:p>
            <a:fld id="{056F0F19-FB49-486F-A2A1-DC5A2D1913F6}" type="datetimeFigureOut">
              <a:rPr lang="en-IN" smtClean="0"/>
              <a:t>22-10-2024</a:t>
            </a:fld>
            <a:endParaRPr lang="en-IN"/>
          </a:p>
        </p:txBody>
      </p:sp>
      <p:sp>
        <p:nvSpPr>
          <p:cNvPr id="5" name="Footer Placeholder 4">
            <a:extLst>
              <a:ext uri="{FF2B5EF4-FFF2-40B4-BE49-F238E27FC236}">
                <a16:creationId xmlns:a16="http://schemas.microsoft.com/office/drawing/2014/main" id="{01711A40-9D13-25B4-BB35-9227E79A17AF}"/>
              </a:ext>
            </a:extLst>
          </p:cNvPr>
          <p:cNvSpPr>
            <a:spLocks noGrp="1"/>
          </p:cNvSpPr>
          <p:nvPr>
            <p:ph type="ftr" sz="quarter" idx="11"/>
          </p:nvPr>
        </p:nvSpPr>
        <p:spPr/>
        <p:txBody>
          <a:bodyPr/>
          <a:lstStyle/>
          <a:p>
            <a:endParaRPr lang="en-IN"/>
          </a:p>
        </p:txBody>
      </p:sp>
      <p:sp>
        <p:nvSpPr>
          <p:cNvPr id="6" name="Slide Number Placeholder 5">
            <a:extLst>
              <a:ext uri="{FF2B5EF4-FFF2-40B4-BE49-F238E27FC236}">
                <a16:creationId xmlns:a16="http://schemas.microsoft.com/office/drawing/2014/main" id="{DE8A2518-ADD3-D620-B2E1-2F8557AA26CA}"/>
              </a:ext>
            </a:extLst>
          </p:cNvPr>
          <p:cNvSpPr>
            <a:spLocks noGrp="1"/>
          </p:cNvSpPr>
          <p:nvPr>
            <p:ph type="sldNum" sz="quarter" idx="12"/>
          </p:nvPr>
        </p:nvSpPr>
        <p:spPr/>
        <p:txBody>
          <a:bodyPr/>
          <a:lstStyle/>
          <a:p>
            <a:fld id="{77D51B2C-8FC3-434B-B750-9AB529C1A988}" type="slidenum">
              <a:rPr lang="en-IN" smtClean="0"/>
              <a:t>‹#›</a:t>
            </a:fld>
            <a:endParaRPr lang="en-IN"/>
          </a:p>
        </p:txBody>
      </p:sp>
    </p:spTree>
    <p:extLst>
      <p:ext uri="{BB962C8B-B14F-4D97-AF65-F5344CB8AC3E}">
        <p14:creationId xmlns:p14="http://schemas.microsoft.com/office/powerpoint/2010/main" val="135760495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D6E3ED-BEAD-7711-03FB-AAD9F78C51CF}"/>
              </a:ext>
            </a:extLst>
          </p:cNvPr>
          <p:cNvSpPr>
            <a:spLocks noGrp="1"/>
          </p:cNvSpPr>
          <p:nvPr>
            <p:ph type="title"/>
          </p:nvPr>
        </p:nvSpPr>
        <p:spPr/>
        <p:txBody>
          <a:bodyPr/>
          <a:lstStyle/>
          <a:p>
            <a:r>
              <a:rPr lang="en-US"/>
              <a:t>Click to edit Master title style</a:t>
            </a:r>
            <a:endParaRPr lang="en-IN"/>
          </a:p>
        </p:txBody>
      </p:sp>
      <p:sp>
        <p:nvSpPr>
          <p:cNvPr id="3" name="Content Placeholder 2">
            <a:extLst>
              <a:ext uri="{FF2B5EF4-FFF2-40B4-BE49-F238E27FC236}">
                <a16:creationId xmlns:a16="http://schemas.microsoft.com/office/drawing/2014/main" id="{FCA769E2-4E92-5715-F4BA-4F6F60737AD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Content Placeholder 3">
            <a:extLst>
              <a:ext uri="{FF2B5EF4-FFF2-40B4-BE49-F238E27FC236}">
                <a16:creationId xmlns:a16="http://schemas.microsoft.com/office/drawing/2014/main" id="{B2CD838B-3140-539B-219F-401A6CEFB59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Date Placeholder 4">
            <a:extLst>
              <a:ext uri="{FF2B5EF4-FFF2-40B4-BE49-F238E27FC236}">
                <a16:creationId xmlns:a16="http://schemas.microsoft.com/office/drawing/2014/main" id="{4F9AC8B2-D796-9F9D-28FC-C77E6C8588C7}"/>
              </a:ext>
            </a:extLst>
          </p:cNvPr>
          <p:cNvSpPr>
            <a:spLocks noGrp="1"/>
          </p:cNvSpPr>
          <p:nvPr>
            <p:ph type="dt" sz="half" idx="10"/>
          </p:nvPr>
        </p:nvSpPr>
        <p:spPr/>
        <p:txBody>
          <a:bodyPr/>
          <a:lstStyle/>
          <a:p>
            <a:fld id="{056F0F19-FB49-486F-A2A1-DC5A2D1913F6}" type="datetimeFigureOut">
              <a:rPr lang="en-IN" smtClean="0"/>
              <a:t>22-10-2024</a:t>
            </a:fld>
            <a:endParaRPr lang="en-IN"/>
          </a:p>
        </p:txBody>
      </p:sp>
      <p:sp>
        <p:nvSpPr>
          <p:cNvPr id="6" name="Footer Placeholder 5">
            <a:extLst>
              <a:ext uri="{FF2B5EF4-FFF2-40B4-BE49-F238E27FC236}">
                <a16:creationId xmlns:a16="http://schemas.microsoft.com/office/drawing/2014/main" id="{FD6A9666-4A4B-C21B-76C1-E8CBEB226726}"/>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9385792C-8760-CA31-8CCA-CAC7F4766004}"/>
              </a:ext>
            </a:extLst>
          </p:cNvPr>
          <p:cNvSpPr>
            <a:spLocks noGrp="1"/>
          </p:cNvSpPr>
          <p:nvPr>
            <p:ph type="sldNum" sz="quarter" idx="12"/>
          </p:nvPr>
        </p:nvSpPr>
        <p:spPr/>
        <p:txBody>
          <a:bodyPr/>
          <a:lstStyle/>
          <a:p>
            <a:fld id="{77D51B2C-8FC3-434B-B750-9AB529C1A988}" type="slidenum">
              <a:rPr lang="en-IN" smtClean="0"/>
              <a:t>‹#›</a:t>
            </a:fld>
            <a:endParaRPr lang="en-IN"/>
          </a:p>
        </p:txBody>
      </p:sp>
    </p:spTree>
    <p:extLst>
      <p:ext uri="{BB962C8B-B14F-4D97-AF65-F5344CB8AC3E}">
        <p14:creationId xmlns:p14="http://schemas.microsoft.com/office/powerpoint/2010/main" val="423928113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545CCE-DFB0-ADD9-53B0-399DB6558946}"/>
              </a:ext>
            </a:extLst>
          </p:cNvPr>
          <p:cNvSpPr>
            <a:spLocks noGrp="1"/>
          </p:cNvSpPr>
          <p:nvPr>
            <p:ph type="title"/>
          </p:nvPr>
        </p:nvSpPr>
        <p:spPr>
          <a:xfrm>
            <a:off x="839788" y="365125"/>
            <a:ext cx="10515600" cy="1325563"/>
          </a:xfrm>
        </p:spPr>
        <p:txBody>
          <a:bodyPr/>
          <a:lstStyle/>
          <a:p>
            <a:r>
              <a:rPr lang="en-US"/>
              <a:t>Click to edit Master title style</a:t>
            </a:r>
            <a:endParaRPr lang="en-IN"/>
          </a:p>
        </p:txBody>
      </p:sp>
      <p:sp>
        <p:nvSpPr>
          <p:cNvPr id="3" name="Text Placeholder 2">
            <a:extLst>
              <a:ext uri="{FF2B5EF4-FFF2-40B4-BE49-F238E27FC236}">
                <a16:creationId xmlns:a16="http://schemas.microsoft.com/office/drawing/2014/main" id="{58F0CDA1-4B12-603D-3669-4F42240E02F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3199A79-748C-FA7A-BABD-83EC344F4E0F}"/>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5" name="Text Placeholder 4">
            <a:extLst>
              <a:ext uri="{FF2B5EF4-FFF2-40B4-BE49-F238E27FC236}">
                <a16:creationId xmlns:a16="http://schemas.microsoft.com/office/drawing/2014/main" id="{516B8542-DD2B-BB58-CECC-FEAA521D163C}"/>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2BA1B6D-D67F-39CD-6F39-FF30CB7D84A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7" name="Date Placeholder 6">
            <a:extLst>
              <a:ext uri="{FF2B5EF4-FFF2-40B4-BE49-F238E27FC236}">
                <a16:creationId xmlns:a16="http://schemas.microsoft.com/office/drawing/2014/main" id="{CD905EA6-679E-6AB6-0B5B-C553A748A0F7}"/>
              </a:ext>
            </a:extLst>
          </p:cNvPr>
          <p:cNvSpPr>
            <a:spLocks noGrp="1"/>
          </p:cNvSpPr>
          <p:nvPr>
            <p:ph type="dt" sz="half" idx="10"/>
          </p:nvPr>
        </p:nvSpPr>
        <p:spPr/>
        <p:txBody>
          <a:bodyPr/>
          <a:lstStyle/>
          <a:p>
            <a:fld id="{056F0F19-FB49-486F-A2A1-DC5A2D1913F6}" type="datetimeFigureOut">
              <a:rPr lang="en-IN" smtClean="0"/>
              <a:t>22-10-2024</a:t>
            </a:fld>
            <a:endParaRPr lang="en-IN"/>
          </a:p>
        </p:txBody>
      </p:sp>
      <p:sp>
        <p:nvSpPr>
          <p:cNvPr id="8" name="Footer Placeholder 7">
            <a:extLst>
              <a:ext uri="{FF2B5EF4-FFF2-40B4-BE49-F238E27FC236}">
                <a16:creationId xmlns:a16="http://schemas.microsoft.com/office/drawing/2014/main" id="{2040231B-1CD8-A0F2-04F3-C1E528558FD8}"/>
              </a:ext>
            </a:extLst>
          </p:cNvPr>
          <p:cNvSpPr>
            <a:spLocks noGrp="1"/>
          </p:cNvSpPr>
          <p:nvPr>
            <p:ph type="ftr" sz="quarter" idx="11"/>
          </p:nvPr>
        </p:nvSpPr>
        <p:spPr/>
        <p:txBody>
          <a:bodyPr/>
          <a:lstStyle/>
          <a:p>
            <a:endParaRPr lang="en-IN"/>
          </a:p>
        </p:txBody>
      </p:sp>
      <p:sp>
        <p:nvSpPr>
          <p:cNvPr id="9" name="Slide Number Placeholder 8">
            <a:extLst>
              <a:ext uri="{FF2B5EF4-FFF2-40B4-BE49-F238E27FC236}">
                <a16:creationId xmlns:a16="http://schemas.microsoft.com/office/drawing/2014/main" id="{6B077DC6-D4F2-989F-9B46-A9929BA24B0F}"/>
              </a:ext>
            </a:extLst>
          </p:cNvPr>
          <p:cNvSpPr>
            <a:spLocks noGrp="1"/>
          </p:cNvSpPr>
          <p:nvPr>
            <p:ph type="sldNum" sz="quarter" idx="12"/>
          </p:nvPr>
        </p:nvSpPr>
        <p:spPr/>
        <p:txBody>
          <a:bodyPr/>
          <a:lstStyle/>
          <a:p>
            <a:fld id="{77D51B2C-8FC3-434B-B750-9AB529C1A988}" type="slidenum">
              <a:rPr lang="en-IN" smtClean="0"/>
              <a:t>‹#›</a:t>
            </a:fld>
            <a:endParaRPr lang="en-IN"/>
          </a:p>
        </p:txBody>
      </p:sp>
    </p:spTree>
    <p:extLst>
      <p:ext uri="{BB962C8B-B14F-4D97-AF65-F5344CB8AC3E}">
        <p14:creationId xmlns:p14="http://schemas.microsoft.com/office/powerpoint/2010/main" val="27658511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12422-B670-9FDB-1F7F-58FF7769A4C4}"/>
              </a:ext>
            </a:extLst>
          </p:cNvPr>
          <p:cNvSpPr>
            <a:spLocks noGrp="1"/>
          </p:cNvSpPr>
          <p:nvPr>
            <p:ph type="title"/>
          </p:nvPr>
        </p:nvSpPr>
        <p:spPr/>
        <p:txBody>
          <a:bodyPr/>
          <a:lstStyle/>
          <a:p>
            <a:r>
              <a:rPr lang="en-US"/>
              <a:t>Click to edit Master title style</a:t>
            </a:r>
            <a:endParaRPr lang="en-IN"/>
          </a:p>
        </p:txBody>
      </p:sp>
      <p:sp>
        <p:nvSpPr>
          <p:cNvPr id="3" name="Date Placeholder 2">
            <a:extLst>
              <a:ext uri="{FF2B5EF4-FFF2-40B4-BE49-F238E27FC236}">
                <a16:creationId xmlns:a16="http://schemas.microsoft.com/office/drawing/2014/main" id="{C9EE3BD5-B552-0A3D-81ED-F2DE97183BB1}"/>
              </a:ext>
            </a:extLst>
          </p:cNvPr>
          <p:cNvSpPr>
            <a:spLocks noGrp="1"/>
          </p:cNvSpPr>
          <p:nvPr>
            <p:ph type="dt" sz="half" idx="10"/>
          </p:nvPr>
        </p:nvSpPr>
        <p:spPr/>
        <p:txBody>
          <a:bodyPr/>
          <a:lstStyle/>
          <a:p>
            <a:fld id="{056F0F19-FB49-486F-A2A1-DC5A2D1913F6}" type="datetimeFigureOut">
              <a:rPr lang="en-IN" smtClean="0"/>
              <a:t>22-10-2024</a:t>
            </a:fld>
            <a:endParaRPr lang="en-IN"/>
          </a:p>
        </p:txBody>
      </p:sp>
      <p:sp>
        <p:nvSpPr>
          <p:cNvPr id="4" name="Footer Placeholder 3">
            <a:extLst>
              <a:ext uri="{FF2B5EF4-FFF2-40B4-BE49-F238E27FC236}">
                <a16:creationId xmlns:a16="http://schemas.microsoft.com/office/drawing/2014/main" id="{FAEDEB26-13BC-7790-41AD-0818ADD156BC}"/>
              </a:ext>
            </a:extLst>
          </p:cNvPr>
          <p:cNvSpPr>
            <a:spLocks noGrp="1"/>
          </p:cNvSpPr>
          <p:nvPr>
            <p:ph type="ftr" sz="quarter" idx="11"/>
          </p:nvPr>
        </p:nvSpPr>
        <p:spPr/>
        <p:txBody>
          <a:bodyPr/>
          <a:lstStyle/>
          <a:p>
            <a:endParaRPr lang="en-IN"/>
          </a:p>
        </p:txBody>
      </p:sp>
      <p:sp>
        <p:nvSpPr>
          <p:cNvPr id="5" name="Slide Number Placeholder 4">
            <a:extLst>
              <a:ext uri="{FF2B5EF4-FFF2-40B4-BE49-F238E27FC236}">
                <a16:creationId xmlns:a16="http://schemas.microsoft.com/office/drawing/2014/main" id="{4C59EBB2-594A-0753-1C96-04B9E30F79CD}"/>
              </a:ext>
            </a:extLst>
          </p:cNvPr>
          <p:cNvSpPr>
            <a:spLocks noGrp="1"/>
          </p:cNvSpPr>
          <p:nvPr>
            <p:ph type="sldNum" sz="quarter" idx="12"/>
          </p:nvPr>
        </p:nvSpPr>
        <p:spPr/>
        <p:txBody>
          <a:bodyPr/>
          <a:lstStyle/>
          <a:p>
            <a:fld id="{77D51B2C-8FC3-434B-B750-9AB529C1A988}" type="slidenum">
              <a:rPr lang="en-IN" smtClean="0"/>
              <a:t>‹#›</a:t>
            </a:fld>
            <a:endParaRPr lang="en-IN"/>
          </a:p>
        </p:txBody>
      </p:sp>
    </p:spTree>
    <p:extLst>
      <p:ext uri="{BB962C8B-B14F-4D97-AF65-F5344CB8AC3E}">
        <p14:creationId xmlns:p14="http://schemas.microsoft.com/office/powerpoint/2010/main" val="1808647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26638F9-B74E-DE6E-E43B-A9086737DDCB}"/>
              </a:ext>
            </a:extLst>
          </p:cNvPr>
          <p:cNvSpPr>
            <a:spLocks noGrp="1"/>
          </p:cNvSpPr>
          <p:nvPr>
            <p:ph type="dt" sz="half" idx="10"/>
          </p:nvPr>
        </p:nvSpPr>
        <p:spPr/>
        <p:txBody>
          <a:bodyPr/>
          <a:lstStyle/>
          <a:p>
            <a:fld id="{056F0F19-FB49-486F-A2A1-DC5A2D1913F6}" type="datetimeFigureOut">
              <a:rPr lang="en-IN" smtClean="0"/>
              <a:t>22-10-2024</a:t>
            </a:fld>
            <a:endParaRPr lang="en-IN"/>
          </a:p>
        </p:txBody>
      </p:sp>
      <p:sp>
        <p:nvSpPr>
          <p:cNvPr id="3" name="Footer Placeholder 2">
            <a:extLst>
              <a:ext uri="{FF2B5EF4-FFF2-40B4-BE49-F238E27FC236}">
                <a16:creationId xmlns:a16="http://schemas.microsoft.com/office/drawing/2014/main" id="{35342B21-2CED-B208-7827-33BD4F2EB6A6}"/>
              </a:ext>
            </a:extLst>
          </p:cNvPr>
          <p:cNvSpPr>
            <a:spLocks noGrp="1"/>
          </p:cNvSpPr>
          <p:nvPr>
            <p:ph type="ftr" sz="quarter" idx="11"/>
          </p:nvPr>
        </p:nvSpPr>
        <p:spPr/>
        <p:txBody>
          <a:bodyPr/>
          <a:lstStyle/>
          <a:p>
            <a:endParaRPr lang="en-IN"/>
          </a:p>
        </p:txBody>
      </p:sp>
      <p:sp>
        <p:nvSpPr>
          <p:cNvPr id="4" name="Slide Number Placeholder 3">
            <a:extLst>
              <a:ext uri="{FF2B5EF4-FFF2-40B4-BE49-F238E27FC236}">
                <a16:creationId xmlns:a16="http://schemas.microsoft.com/office/drawing/2014/main" id="{422BE8A6-9F60-E4DD-3211-DB69AE66AADD}"/>
              </a:ext>
            </a:extLst>
          </p:cNvPr>
          <p:cNvSpPr>
            <a:spLocks noGrp="1"/>
          </p:cNvSpPr>
          <p:nvPr>
            <p:ph type="sldNum" sz="quarter" idx="12"/>
          </p:nvPr>
        </p:nvSpPr>
        <p:spPr/>
        <p:txBody>
          <a:bodyPr/>
          <a:lstStyle/>
          <a:p>
            <a:fld id="{77D51B2C-8FC3-434B-B750-9AB529C1A988}" type="slidenum">
              <a:rPr lang="en-IN" smtClean="0"/>
              <a:t>‹#›</a:t>
            </a:fld>
            <a:endParaRPr lang="en-IN"/>
          </a:p>
        </p:txBody>
      </p:sp>
    </p:spTree>
    <p:extLst>
      <p:ext uri="{BB962C8B-B14F-4D97-AF65-F5344CB8AC3E}">
        <p14:creationId xmlns:p14="http://schemas.microsoft.com/office/powerpoint/2010/main" val="31085171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B64D53-A386-9296-A8F8-A7C00FAFF63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Content Placeholder 2">
            <a:extLst>
              <a:ext uri="{FF2B5EF4-FFF2-40B4-BE49-F238E27FC236}">
                <a16:creationId xmlns:a16="http://schemas.microsoft.com/office/drawing/2014/main" id="{6E2E68BF-14C4-C256-9135-D58EA66BF90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Text Placeholder 3">
            <a:extLst>
              <a:ext uri="{FF2B5EF4-FFF2-40B4-BE49-F238E27FC236}">
                <a16:creationId xmlns:a16="http://schemas.microsoft.com/office/drawing/2014/main" id="{264F5381-0BAD-5BB2-9377-24B965FC4F1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27E7D54-4C01-F8A3-EC44-6CE9437B5E0D}"/>
              </a:ext>
            </a:extLst>
          </p:cNvPr>
          <p:cNvSpPr>
            <a:spLocks noGrp="1"/>
          </p:cNvSpPr>
          <p:nvPr>
            <p:ph type="dt" sz="half" idx="10"/>
          </p:nvPr>
        </p:nvSpPr>
        <p:spPr/>
        <p:txBody>
          <a:bodyPr/>
          <a:lstStyle/>
          <a:p>
            <a:fld id="{056F0F19-FB49-486F-A2A1-DC5A2D1913F6}" type="datetimeFigureOut">
              <a:rPr lang="en-IN" smtClean="0"/>
              <a:t>22-10-2024</a:t>
            </a:fld>
            <a:endParaRPr lang="en-IN"/>
          </a:p>
        </p:txBody>
      </p:sp>
      <p:sp>
        <p:nvSpPr>
          <p:cNvPr id="6" name="Footer Placeholder 5">
            <a:extLst>
              <a:ext uri="{FF2B5EF4-FFF2-40B4-BE49-F238E27FC236}">
                <a16:creationId xmlns:a16="http://schemas.microsoft.com/office/drawing/2014/main" id="{F37DD78B-BEEC-E981-56A7-CA498CB86D9A}"/>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234E4212-804D-3AA9-99AF-A411F483AABB}"/>
              </a:ext>
            </a:extLst>
          </p:cNvPr>
          <p:cNvSpPr>
            <a:spLocks noGrp="1"/>
          </p:cNvSpPr>
          <p:nvPr>
            <p:ph type="sldNum" sz="quarter" idx="12"/>
          </p:nvPr>
        </p:nvSpPr>
        <p:spPr/>
        <p:txBody>
          <a:bodyPr/>
          <a:lstStyle/>
          <a:p>
            <a:fld id="{77D51B2C-8FC3-434B-B750-9AB529C1A988}" type="slidenum">
              <a:rPr lang="en-IN" smtClean="0"/>
              <a:t>‹#›</a:t>
            </a:fld>
            <a:endParaRPr lang="en-IN"/>
          </a:p>
        </p:txBody>
      </p:sp>
    </p:spTree>
    <p:extLst>
      <p:ext uri="{BB962C8B-B14F-4D97-AF65-F5344CB8AC3E}">
        <p14:creationId xmlns:p14="http://schemas.microsoft.com/office/powerpoint/2010/main" val="3325296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57A87B-A603-F1CC-DC7F-CD536FBA02E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IN"/>
          </a:p>
        </p:txBody>
      </p:sp>
      <p:sp>
        <p:nvSpPr>
          <p:cNvPr id="3" name="Picture Placeholder 2">
            <a:extLst>
              <a:ext uri="{FF2B5EF4-FFF2-40B4-BE49-F238E27FC236}">
                <a16:creationId xmlns:a16="http://schemas.microsoft.com/office/drawing/2014/main" id="{E61FC71B-60C1-85A3-AF9E-5A9952E172EC}"/>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IN"/>
          </a:p>
        </p:txBody>
      </p:sp>
      <p:sp>
        <p:nvSpPr>
          <p:cNvPr id="4" name="Text Placeholder 3">
            <a:extLst>
              <a:ext uri="{FF2B5EF4-FFF2-40B4-BE49-F238E27FC236}">
                <a16:creationId xmlns:a16="http://schemas.microsoft.com/office/drawing/2014/main" id="{DF9A98F4-4667-13F0-6568-15862199658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51239CA-42CC-86D7-8F20-33E7573D0341}"/>
              </a:ext>
            </a:extLst>
          </p:cNvPr>
          <p:cNvSpPr>
            <a:spLocks noGrp="1"/>
          </p:cNvSpPr>
          <p:nvPr>
            <p:ph type="dt" sz="half" idx="10"/>
          </p:nvPr>
        </p:nvSpPr>
        <p:spPr/>
        <p:txBody>
          <a:bodyPr/>
          <a:lstStyle/>
          <a:p>
            <a:fld id="{056F0F19-FB49-486F-A2A1-DC5A2D1913F6}" type="datetimeFigureOut">
              <a:rPr lang="en-IN" smtClean="0"/>
              <a:t>22-10-2024</a:t>
            </a:fld>
            <a:endParaRPr lang="en-IN"/>
          </a:p>
        </p:txBody>
      </p:sp>
      <p:sp>
        <p:nvSpPr>
          <p:cNvPr id="6" name="Footer Placeholder 5">
            <a:extLst>
              <a:ext uri="{FF2B5EF4-FFF2-40B4-BE49-F238E27FC236}">
                <a16:creationId xmlns:a16="http://schemas.microsoft.com/office/drawing/2014/main" id="{9ED489E0-4645-396A-2102-26D6C621C50B}"/>
              </a:ext>
            </a:extLst>
          </p:cNvPr>
          <p:cNvSpPr>
            <a:spLocks noGrp="1"/>
          </p:cNvSpPr>
          <p:nvPr>
            <p:ph type="ftr" sz="quarter" idx="11"/>
          </p:nvPr>
        </p:nvSpPr>
        <p:spPr/>
        <p:txBody>
          <a:bodyPr/>
          <a:lstStyle/>
          <a:p>
            <a:endParaRPr lang="en-IN"/>
          </a:p>
        </p:txBody>
      </p:sp>
      <p:sp>
        <p:nvSpPr>
          <p:cNvPr id="7" name="Slide Number Placeholder 6">
            <a:extLst>
              <a:ext uri="{FF2B5EF4-FFF2-40B4-BE49-F238E27FC236}">
                <a16:creationId xmlns:a16="http://schemas.microsoft.com/office/drawing/2014/main" id="{7E17D4BB-1C08-ACBD-B461-032E7587A679}"/>
              </a:ext>
            </a:extLst>
          </p:cNvPr>
          <p:cNvSpPr>
            <a:spLocks noGrp="1"/>
          </p:cNvSpPr>
          <p:nvPr>
            <p:ph type="sldNum" sz="quarter" idx="12"/>
          </p:nvPr>
        </p:nvSpPr>
        <p:spPr/>
        <p:txBody>
          <a:bodyPr/>
          <a:lstStyle/>
          <a:p>
            <a:fld id="{77D51B2C-8FC3-434B-B750-9AB529C1A988}" type="slidenum">
              <a:rPr lang="en-IN" smtClean="0"/>
              <a:t>‹#›</a:t>
            </a:fld>
            <a:endParaRPr lang="en-IN"/>
          </a:p>
        </p:txBody>
      </p:sp>
    </p:spTree>
    <p:extLst>
      <p:ext uri="{BB962C8B-B14F-4D97-AF65-F5344CB8AC3E}">
        <p14:creationId xmlns:p14="http://schemas.microsoft.com/office/powerpoint/2010/main" val="8390154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34297C8-2E32-EDE2-2F00-C4CBAE364BD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IN"/>
          </a:p>
        </p:txBody>
      </p:sp>
      <p:sp>
        <p:nvSpPr>
          <p:cNvPr id="3" name="Text Placeholder 2">
            <a:extLst>
              <a:ext uri="{FF2B5EF4-FFF2-40B4-BE49-F238E27FC236}">
                <a16:creationId xmlns:a16="http://schemas.microsoft.com/office/drawing/2014/main" id="{76743D58-999D-C365-4109-C5144E15CFC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IN"/>
          </a:p>
        </p:txBody>
      </p:sp>
      <p:sp>
        <p:nvSpPr>
          <p:cNvPr id="4" name="Date Placeholder 3">
            <a:extLst>
              <a:ext uri="{FF2B5EF4-FFF2-40B4-BE49-F238E27FC236}">
                <a16:creationId xmlns:a16="http://schemas.microsoft.com/office/drawing/2014/main" id="{FFA0533D-9B08-A2F8-00AE-FC0AC57D4B8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056F0F19-FB49-486F-A2A1-DC5A2D1913F6}" type="datetimeFigureOut">
              <a:rPr lang="en-IN" smtClean="0"/>
              <a:t>22-10-2024</a:t>
            </a:fld>
            <a:endParaRPr lang="en-IN"/>
          </a:p>
        </p:txBody>
      </p:sp>
      <p:sp>
        <p:nvSpPr>
          <p:cNvPr id="5" name="Footer Placeholder 4">
            <a:extLst>
              <a:ext uri="{FF2B5EF4-FFF2-40B4-BE49-F238E27FC236}">
                <a16:creationId xmlns:a16="http://schemas.microsoft.com/office/drawing/2014/main" id="{CB019129-122D-0652-7525-BED05A2A710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IN"/>
          </a:p>
        </p:txBody>
      </p:sp>
      <p:sp>
        <p:nvSpPr>
          <p:cNvPr id="6" name="Slide Number Placeholder 5">
            <a:extLst>
              <a:ext uri="{FF2B5EF4-FFF2-40B4-BE49-F238E27FC236}">
                <a16:creationId xmlns:a16="http://schemas.microsoft.com/office/drawing/2014/main" id="{09FA3F05-DE55-DBA4-CE12-84FC3F53ECD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77D51B2C-8FC3-434B-B750-9AB529C1A988}" type="slidenum">
              <a:rPr lang="en-IN" smtClean="0"/>
              <a:t>‹#›</a:t>
            </a:fld>
            <a:endParaRPr lang="en-IN"/>
          </a:p>
        </p:txBody>
      </p:sp>
    </p:spTree>
    <p:extLst>
      <p:ext uri="{BB962C8B-B14F-4D97-AF65-F5344CB8AC3E}">
        <p14:creationId xmlns:p14="http://schemas.microsoft.com/office/powerpoint/2010/main" val="363140950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hyperlink" Target="https://www.uptodate.com/contents/crizanlizumab-drug-information?topicRef=110324&amp;source=see_link" TargetMode="External"/><Relationship Id="rId2" Type="http://schemas.openxmlformats.org/officeDocument/2006/relationships/hyperlink" Target="https://www.uptodate.com/contents/hydroxyurea-hydroxycarbamide-drug-information?topicRef=110324&amp;source=see_link" TargetMode="External"/><Relationship Id="rId1" Type="http://schemas.openxmlformats.org/officeDocument/2006/relationships/slideLayout" Target="../slideLayouts/slideLayout2.xml"/><Relationship Id="rId4" Type="http://schemas.openxmlformats.org/officeDocument/2006/relationships/hyperlink" Target="https://www.uptodate.com/contents/voxelotor-drug-information?topicRef=110324&amp;source=see_link"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jpe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8.xml.rels><?xml version="1.0" encoding="UTF-8" standalone="yes"?>
<Relationships xmlns="http://schemas.openxmlformats.org/package/2006/relationships"><Relationship Id="rId3" Type="http://schemas.openxmlformats.org/officeDocument/2006/relationships/image" Target="../media/image25.gif"/><Relationship Id="rId2" Type="http://schemas.openxmlformats.org/officeDocument/2006/relationships/image" Target="../media/image24.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23.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25.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26.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2.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3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9.svg"/><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openxmlformats.org/officeDocument/2006/relationships/image" Target="../media/image7.svg"/><Relationship Id="rId5" Type="http://schemas.openxmlformats.org/officeDocument/2006/relationships/image" Target="../media/image6.png"/><Relationship Id="rId10" Type="http://schemas.openxmlformats.org/officeDocument/2006/relationships/image" Target="../media/image11.svg"/><Relationship Id="rId4" Type="http://schemas.openxmlformats.org/officeDocument/2006/relationships/image" Target="../media/image5.svg"/><Relationship Id="rId9" Type="http://schemas.openxmlformats.org/officeDocument/2006/relationships/image" Target="../media/image10.png"/></Relationships>
</file>

<file path=ppt/slides/_rels/slide4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4.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12.png"/><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jpeg"/><Relationship Id="rId7"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8.jpeg"/><Relationship Id="rId5" Type="http://schemas.openxmlformats.org/officeDocument/2006/relationships/image" Target="../media/image17.png"/><Relationship Id="rId4" Type="http://schemas.openxmlformats.org/officeDocument/2006/relationships/image" Target="../media/image16.jpeg"/></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0" name="Rectangle 79">
            <a:extLst>
              <a:ext uri="{FF2B5EF4-FFF2-40B4-BE49-F238E27FC236}">
                <a16:creationId xmlns:a16="http://schemas.microsoft.com/office/drawing/2014/main" id="{43C48B49-6135-48B6-AC0F-97E5D8D1F03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1" name="Rectangle 80">
            <a:extLst>
              <a:ext uri="{FF2B5EF4-FFF2-40B4-BE49-F238E27FC236}">
                <a16:creationId xmlns:a16="http://schemas.microsoft.com/office/drawing/2014/main" id="{9715DAF0-AE1B-46C9-8A6B-DB2AA05AB91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8" y="4374554"/>
            <a:ext cx="12192007" cy="2483444"/>
          </a:xfrm>
          <a:prstGeom prst="rect">
            <a:avLst/>
          </a:prstGeom>
          <a:gradFill>
            <a:gsLst>
              <a:gs pos="0">
                <a:schemeClr val="accent1">
                  <a:lumMod val="75000"/>
                </a:schemeClr>
              </a:gs>
              <a:gs pos="100000">
                <a:srgbClr val="000000"/>
              </a:gs>
            </a:gsLst>
            <a:lin ang="15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tangle 81">
            <a:extLst>
              <a:ext uri="{FF2B5EF4-FFF2-40B4-BE49-F238E27FC236}">
                <a16:creationId xmlns:a16="http://schemas.microsoft.com/office/drawing/2014/main" id="{DC631C0B-6DA6-4E57-8231-CE32B3434A7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8140655" y="4374554"/>
            <a:ext cx="4051344" cy="2483446"/>
          </a:xfrm>
          <a:prstGeom prst="rect">
            <a:avLst/>
          </a:prstGeom>
          <a:gradFill>
            <a:gsLst>
              <a:gs pos="4000">
                <a:schemeClr val="accent1">
                  <a:alpha val="21000"/>
                </a:schemeClr>
              </a:gs>
              <a:gs pos="83000">
                <a:schemeClr val="accent1">
                  <a:lumMod val="50000"/>
                  <a:alpha val="61000"/>
                </a:schemeClr>
              </a:gs>
            </a:gsLst>
            <a:lin ang="18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Rectangle 82">
            <a:extLst>
              <a:ext uri="{FF2B5EF4-FFF2-40B4-BE49-F238E27FC236}">
                <a16:creationId xmlns:a16="http://schemas.microsoft.com/office/drawing/2014/main" id="{F256AC18-FB41-4977-8B0C-F5082335AB7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a:off x="0" y="4379429"/>
            <a:ext cx="12191984" cy="1953928"/>
          </a:xfrm>
          <a:prstGeom prst="rect">
            <a:avLst/>
          </a:prstGeom>
          <a:gradFill>
            <a:gsLst>
              <a:gs pos="32000">
                <a:schemeClr val="accent1">
                  <a:lumMod val="50000"/>
                  <a:alpha val="0"/>
                </a:schemeClr>
              </a:gs>
              <a:gs pos="100000">
                <a:schemeClr val="accent1">
                  <a:alpha val="55000"/>
                </a:schemeClr>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53">
            <a:extLst>
              <a:ext uri="{FF2B5EF4-FFF2-40B4-BE49-F238E27FC236}">
                <a16:creationId xmlns:a16="http://schemas.microsoft.com/office/drawing/2014/main" id="{AFF4A713-7B75-4B21-90D7-5AB19547C7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 y="4380927"/>
            <a:ext cx="12192000" cy="2019443"/>
          </a:xfrm>
          <a:prstGeom prst="rect">
            <a:avLst/>
          </a:prstGeom>
          <a:gradFill>
            <a:gsLst>
              <a:gs pos="32000">
                <a:schemeClr val="accent1">
                  <a:lumMod val="50000"/>
                  <a:alpha val="0"/>
                </a:schemeClr>
              </a:gs>
              <a:gs pos="100000">
                <a:srgbClr val="000000">
                  <a:alpha val="45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ubtitle 2">
            <a:extLst>
              <a:ext uri="{FF2B5EF4-FFF2-40B4-BE49-F238E27FC236}">
                <a16:creationId xmlns:a16="http://schemas.microsoft.com/office/drawing/2014/main" id="{5ED2877C-7200-0268-0631-2AB563054CD4}"/>
              </a:ext>
            </a:extLst>
          </p:cNvPr>
          <p:cNvSpPr>
            <a:spLocks noGrp="1"/>
          </p:cNvSpPr>
          <p:nvPr>
            <p:ph type="subTitle" idx="1"/>
          </p:nvPr>
        </p:nvSpPr>
        <p:spPr>
          <a:xfrm>
            <a:off x="1329765" y="4892722"/>
            <a:ext cx="6387155" cy="1078173"/>
          </a:xfrm>
        </p:spPr>
        <p:txBody>
          <a:bodyPr anchor="ctr">
            <a:normAutofit fontScale="92500" lnSpcReduction="10000"/>
          </a:bodyPr>
          <a:lstStyle/>
          <a:p>
            <a:pPr algn="l"/>
            <a:r>
              <a:rPr lang="en-IN" b="1" dirty="0">
                <a:solidFill>
                  <a:srgbClr val="FFFFFF"/>
                </a:solidFill>
              </a:rPr>
              <a:t>                                    Dr </a:t>
            </a:r>
            <a:r>
              <a:rPr lang="en-IN" b="1" dirty="0" err="1">
                <a:solidFill>
                  <a:srgbClr val="FFFFFF"/>
                </a:solidFill>
              </a:rPr>
              <a:t>Dipty</a:t>
            </a:r>
            <a:r>
              <a:rPr lang="en-IN" b="1" dirty="0">
                <a:solidFill>
                  <a:srgbClr val="FFFFFF"/>
                </a:solidFill>
              </a:rPr>
              <a:t> Jain </a:t>
            </a:r>
          </a:p>
          <a:p>
            <a:pPr algn="l"/>
            <a:r>
              <a:rPr lang="en-IN" b="1" dirty="0">
                <a:solidFill>
                  <a:srgbClr val="FFFFFF"/>
                </a:solidFill>
              </a:rPr>
              <a:t>                     </a:t>
            </a:r>
          </a:p>
        </p:txBody>
      </p:sp>
      <p:sp>
        <p:nvSpPr>
          <p:cNvPr id="5" name="Title 4">
            <a:extLst>
              <a:ext uri="{FF2B5EF4-FFF2-40B4-BE49-F238E27FC236}">
                <a16:creationId xmlns:a16="http://schemas.microsoft.com/office/drawing/2014/main" id="{29F41A6C-6286-E762-2C7A-9FB526D49792}"/>
              </a:ext>
            </a:extLst>
          </p:cNvPr>
          <p:cNvSpPr>
            <a:spLocks noGrp="1"/>
          </p:cNvSpPr>
          <p:nvPr>
            <p:ph type="ctrTitle"/>
          </p:nvPr>
        </p:nvSpPr>
        <p:spPr/>
        <p:txBody>
          <a:bodyPr/>
          <a:lstStyle/>
          <a:p>
            <a:r>
              <a:rPr lang="en-IN"/>
              <a:t>Therapeutic approaches </a:t>
            </a:r>
            <a:r>
              <a:rPr lang="en-IN" dirty="0"/>
              <a:t>in Sickle Cell Disease</a:t>
            </a:r>
          </a:p>
        </p:txBody>
      </p:sp>
    </p:spTree>
    <p:extLst>
      <p:ext uri="{BB962C8B-B14F-4D97-AF65-F5344CB8AC3E}">
        <p14:creationId xmlns:p14="http://schemas.microsoft.com/office/powerpoint/2010/main" val="23100823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367748" y="1655545"/>
            <a:ext cx="10904310" cy="4030393"/>
          </a:xfrm>
        </p:spPr>
        <p:txBody>
          <a:bodyPr/>
          <a:lstStyle/>
          <a:p>
            <a:r>
              <a:rPr lang="en-GB" sz="1800" b="1" dirty="0"/>
              <a:t>Penicillin prophylaxis prevents pneumococcal sepsis in children [evidence from Prophylactic Penicillin Studies I and II(PROPS I &amp; II)].</a:t>
            </a:r>
          </a:p>
          <a:p>
            <a:pPr marL="0" indent="0">
              <a:buNone/>
            </a:pPr>
            <a:endParaRPr lang="en-GB" sz="1800" b="1" dirty="0"/>
          </a:p>
          <a:p>
            <a:r>
              <a:rPr lang="en-GB" sz="1800" b="1" dirty="0"/>
              <a:t>Pneumococcal vaccine prevents pneumococcal infection in children.</a:t>
            </a:r>
          </a:p>
          <a:p>
            <a:pPr marL="0" indent="0">
              <a:buNone/>
            </a:pPr>
            <a:endParaRPr lang="en-GB" sz="1800" b="1" dirty="0"/>
          </a:p>
          <a:p>
            <a:r>
              <a:rPr lang="en-GB" sz="1800" b="1" dirty="0"/>
              <a:t>Hydroxyurea decreases crises in patients with severe sickle cell disease [evidence from the </a:t>
            </a:r>
            <a:r>
              <a:rPr lang="en-GB" sz="1800" b="1" dirty="0" err="1"/>
              <a:t>Multicenter</a:t>
            </a:r>
            <a:r>
              <a:rPr lang="en-GB" sz="1800" b="1" dirty="0"/>
              <a:t> Study of Hydroxyurea in Sickle Cell </a:t>
            </a:r>
            <a:r>
              <a:rPr lang="en-GB" sz="1800" b="1" dirty="0" err="1"/>
              <a:t>Anemia</a:t>
            </a:r>
            <a:r>
              <a:rPr lang="en-GB" sz="1800" b="1" dirty="0"/>
              <a:t> (MSH) trial]</a:t>
            </a:r>
          </a:p>
          <a:p>
            <a:endParaRPr lang="en-GB" sz="1800" b="1" dirty="0"/>
          </a:p>
          <a:p>
            <a:r>
              <a:rPr lang="en-GB" sz="1800" b="1" dirty="0"/>
              <a:t>Folic acid 5 mg daily</a:t>
            </a:r>
          </a:p>
          <a:p>
            <a:pPr marL="0" indent="0">
              <a:buNone/>
            </a:pPr>
            <a:endParaRPr lang="en-GB" sz="1800" b="1" dirty="0"/>
          </a:p>
          <a:p>
            <a:r>
              <a:rPr lang="en-GB" sz="1800" b="1" dirty="0"/>
              <a:t>Transfusions to reduce </a:t>
            </a:r>
            <a:r>
              <a:rPr lang="en-GB" sz="1800" b="1" dirty="0" err="1"/>
              <a:t>HbS</a:t>
            </a:r>
            <a:r>
              <a:rPr lang="en-GB" sz="1800" b="1" dirty="0"/>
              <a:t> levels to below 30% prevent strokes in children with high central nervous system blood flow [evidence from the Stroke Prevention Trial in Sickle Cell </a:t>
            </a:r>
            <a:r>
              <a:rPr lang="en-GB" sz="1800" b="1" dirty="0" err="1"/>
              <a:t>Anemia</a:t>
            </a:r>
            <a:r>
              <a:rPr lang="en-GB" sz="1800" b="1" dirty="0"/>
              <a:t> (STOP I)].</a:t>
            </a:r>
          </a:p>
        </p:txBody>
      </p:sp>
      <p:sp>
        <p:nvSpPr>
          <p:cNvPr id="3" name="Title 2"/>
          <p:cNvSpPr>
            <a:spLocks noGrp="1"/>
          </p:cNvSpPr>
          <p:nvPr>
            <p:ph type="title"/>
          </p:nvPr>
        </p:nvSpPr>
        <p:spPr>
          <a:xfrm>
            <a:off x="367749" y="548640"/>
            <a:ext cx="11188946" cy="895149"/>
          </a:xfrm>
          <a:ln>
            <a:solidFill>
              <a:schemeClr val="tx2">
                <a:lumMod val="75000"/>
                <a:lumOff val="25000"/>
              </a:schemeClr>
            </a:solidFill>
          </a:ln>
        </p:spPr>
        <p:txBody>
          <a:bodyPr/>
          <a:lstStyle/>
          <a:p>
            <a:r>
              <a:rPr lang="en-GB" sz="3200" b="1" dirty="0">
                <a:solidFill>
                  <a:schemeClr val="accent4">
                    <a:lumMod val="75000"/>
                  </a:schemeClr>
                </a:solidFill>
              </a:rPr>
              <a:t>Evidence supported management strategies in sickle cell disease</a:t>
            </a:r>
            <a:r>
              <a:rPr lang="en-GB" sz="3200" b="1" dirty="0"/>
              <a:t>.</a:t>
            </a:r>
          </a:p>
        </p:txBody>
      </p:sp>
    </p:spTree>
    <p:extLst>
      <p:ext uri="{BB962C8B-B14F-4D97-AF65-F5344CB8AC3E}">
        <p14:creationId xmlns:p14="http://schemas.microsoft.com/office/powerpoint/2010/main" val="7644879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39919D-BB6A-9DEF-496E-A63A410939A4}"/>
              </a:ext>
            </a:extLst>
          </p:cNvPr>
          <p:cNvSpPr>
            <a:spLocks noGrp="1"/>
          </p:cNvSpPr>
          <p:nvPr>
            <p:ph type="title"/>
          </p:nvPr>
        </p:nvSpPr>
        <p:spPr/>
        <p:txBody>
          <a:bodyPr>
            <a:normAutofit/>
          </a:bodyPr>
          <a:lstStyle/>
          <a:p>
            <a:r>
              <a:rPr lang="en-US" sz="2800" dirty="0"/>
              <a:t>Timeline of drug development</a:t>
            </a:r>
          </a:p>
        </p:txBody>
      </p:sp>
      <p:sp>
        <p:nvSpPr>
          <p:cNvPr id="7" name="Right Arrow 6">
            <a:extLst>
              <a:ext uri="{FF2B5EF4-FFF2-40B4-BE49-F238E27FC236}">
                <a16:creationId xmlns:a16="http://schemas.microsoft.com/office/drawing/2014/main" id="{9F65E01A-78D9-1616-6EC6-49042FC8794C}"/>
              </a:ext>
            </a:extLst>
          </p:cNvPr>
          <p:cNvSpPr/>
          <p:nvPr/>
        </p:nvSpPr>
        <p:spPr>
          <a:xfrm>
            <a:off x="838200" y="3429000"/>
            <a:ext cx="10515600" cy="1278924"/>
          </a:xfrm>
          <a:prstGeom prst="rightArrow">
            <a:avLst>
              <a:gd name="adj1" fmla="val 50000"/>
              <a:gd name="adj2" fmla="val 71256"/>
            </a:avLst>
          </a:prstGeom>
          <a:solidFill>
            <a:schemeClr val="accent1">
              <a:lumMod val="20000"/>
              <a:lumOff val="80000"/>
            </a:schemeClr>
          </a:solid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Oval 7">
            <a:extLst>
              <a:ext uri="{FF2B5EF4-FFF2-40B4-BE49-F238E27FC236}">
                <a16:creationId xmlns:a16="http://schemas.microsoft.com/office/drawing/2014/main" id="{C5A37BC7-A949-B72B-7656-FA9F5A7B7311}"/>
              </a:ext>
            </a:extLst>
          </p:cNvPr>
          <p:cNvSpPr/>
          <p:nvPr/>
        </p:nvSpPr>
        <p:spPr>
          <a:xfrm>
            <a:off x="1099751" y="3867665"/>
            <a:ext cx="395416" cy="395416"/>
          </a:xfrm>
          <a:prstGeom prst="ellipse">
            <a:avLst/>
          </a:prstGeom>
          <a:ln w="73025" cmpd="thickThi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466BFC8F-8D09-B1DC-0C54-9F564DC623DD}"/>
              </a:ext>
            </a:extLst>
          </p:cNvPr>
          <p:cNvSpPr/>
          <p:nvPr/>
        </p:nvSpPr>
        <p:spPr>
          <a:xfrm>
            <a:off x="6992890" y="3867665"/>
            <a:ext cx="395416" cy="395416"/>
          </a:xfrm>
          <a:prstGeom prst="ellipse">
            <a:avLst/>
          </a:prstGeom>
          <a:ln w="73025" cmpd="thickThi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8313B0A2-2911-FB10-2F61-EDE2C343F91C}"/>
              </a:ext>
            </a:extLst>
          </p:cNvPr>
          <p:cNvSpPr/>
          <p:nvPr/>
        </p:nvSpPr>
        <p:spPr>
          <a:xfrm>
            <a:off x="9284038" y="3867665"/>
            <a:ext cx="395416" cy="395416"/>
          </a:xfrm>
          <a:prstGeom prst="ellipse">
            <a:avLst/>
          </a:prstGeom>
          <a:ln w="73025" cmpd="thickThi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68DA9561-ADD5-8EFB-5D63-72F67878BFFA}"/>
              </a:ext>
            </a:extLst>
          </p:cNvPr>
          <p:cNvSpPr txBox="1"/>
          <p:nvPr/>
        </p:nvSpPr>
        <p:spPr>
          <a:xfrm>
            <a:off x="232904" y="1967687"/>
            <a:ext cx="2129109" cy="369332"/>
          </a:xfrm>
          <a:prstGeom prst="rect">
            <a:avLst/>
          </a:prstGeom>
          <a:solidFill>
            <a:schemeClr val="accent1">
              <a:lumMod val="20000"/>
              <a:lumOff val="80000"/>
            </a:schemeClr>
          </a:solidFill>
          <a:ln w="38100" cmpd="thickThin">
            <a:solidFill>
              <a:schemeClr val="accent1"/>
            </a:solidFill>
          </a:ln>
        </p:spPr>
        <p:txBody>
          <a:bodyPr wrap="none" rtlCol="0">
            <a:spAutoFit/>
          </a:bodyPr>
          <a:lstStyle/>
          <a:p>
            <a:r>
              <a:rPr lang="en-IN" b="0" i="0" dirty="0">
                <a:solidFill>
                  <a:srgbClr val="232323"/>
                </a:solidFill>
                <a:effectLst/>
                <a:latin typeface="Noto Sans" panose="020B0502040504020204" pitchFamily="34" charset="0"/>
              </a:rPr>
              <a:t>SCD first reported</a:t>
            </a:r>
          </a:p>
        </p:txBody>
      </p:sp>
      <p:sp>
        <p:nvSpPr>
          <p:cNvPr id="13" name="TextBox 12">
            <a:extLst>
              <a:ext uri="{FF2B5EF4-FFF2-40B4-BE49-F238E27FC236}">
                <a16:creationId xmlns:a16="http://schemas.microsoft.com/office/drawing/2014/main" id="{36F96A7B-4FD3-A5DD-10DF-ED60C8C433E6}"/>
              </a:ext>
            </a:extLst>
          </p:cNvPr>
          <p:cNvSpPr txBox="1"/>
          <p:nvPr/>
        </p:nvSpPr>
        <p:spPr>
          <a:xfrm>
            <a:off x="5724529" y="1690688"/>
            <a:ext cx="2969735" cy="646331"/>
          </a:xfrm>
          <a:prstGeom prst="rect">
            <a:avLst/>
          </a:prstGeom>
          <a:solidFill>
            <a:schemeClr val="accent1">
              <a:lumMod val="20000"/>
              <a:lumOff val="80000"/>
            </a:schemeClr>
          </a:solidFill>
          <a:ln w="38100" cmpd="thickThin">
            <a:solidFill>
              <a:schemeClr val="accent1"/>
            </a:solidFill>
          </a:ln>
        </p:spPr>
        <p:txBody>
          <a:bodyPr wrap="square">
            <a:spAutoFit/>
          </a:bodyPr>
          <a:lstStyle/>
          <a:p>
            <a:pPr algn="ctr"/>
            <a:r>
              <a:rPr lang="en-IN" b="0" i="0" dirty="0">
                <a:solidFill>
                  <a:srgbClr val="232323"/>
                </a:solidFill>
                <a:effectLst/>
                <a:latin typeface="Noto Sans" panose="020B0502040504020204" pitchFamily="34" charset="0"/>
              </a:rPr>
              <a:t>1</a:t>
            </a:r>
            <a:r>
              <a:rPr lang="en-IN" b="0" i="0" baseline="30000" dirty="0">
                <a:solidFill>
                  <a:srgbClr val="232323"/>
                </a:solidFill>
                <a:effectLst/>
                <a:latin typeface="Noto Sans" panose="020B0502040504020204" pitchFamily="34" charset="0"/>
              </a:rPr>
              <a:t>st</a:t>
            </a:r>
            <a:r>
              <a:rPr lang="en-IN" b="0" i="0" dirty="0">
                <a:solidFill>
                  <a:srgbClr val="232323"/>
                </a:solidFill>
                <a:effectLst/>
                <a:latin typeface="Noto Sans" panose="020B0502040504020204" pitchFamily="34" charset="0"/>
              </a:rPr>
              <a:t> drug approved for SCD</a:t>
            </a:r>
          </a:p>
          <a:p>
            <a:pPr algn="ctr"/>
            <a:r>
              <a:rPr lang="en-IN" b="0" i="0" dirty="0">
                <a:solidFill>
                  <a:srgbClr val="232323"/>
                </a:solidFill>
                <a:effectLst/>
                <a:latin typeface="Noto Sans" panose="020B0502040504020204" pitchFamily="34" charset="0"/>
              </a:rPr>
              <a:t>(</a:t>
            </a:r>
            <a:r>
              <a:rPr lang="en-IN" b="0" i="0" u="none" strike="noStrike" dirty="0">
                <a:solidFill>
                  <a:srgbClr val="005B92"/>
                </a:solidFill>
                <a:effectLst/>
                <a:latin typeface="Noto Sans" panose="020B0502040504020204" pitchFamily="34" charset="0"/>
                <a:hlinkClick r:id="rId2"/>
              </a:rPr>
              <a:t>Hydroxyurea</a:t>
            </a:r>
            <a:r>
              <a:rPr lang="en-IN" b="0" i="0" dirty="0">
                <a:solidFill>
                  <a:srgbClr val="232323"/>
                </a:solidFill>
                <a:effectLst/>
                <a:latin typeface="Noto Sans" panose="020B0502040504020204" pitchFamily="34" charset="0"/>
              </a:rPr>
              <a:t>)</a:t>
            </a:r>
            <a:endParaRPr lang="en-US" dirty="0"/>
          </a:p>
        </p:txBody>
      </p:sp>
      <p:sp>
        <p:nvSpPr>
          <p:cNvPr id="15" name="TextBox 14">
            <a:extLst>
              <a:ext uri="{FF2B5EF4-FFF2-40B4-BE49-F238E27FC236}">
                <a16:creationId xmlns:a16="http://schemas.microsoft.com/office/drawing/2014/main" id="{F29A88CD-A9B3-AE92-2D6B-48CB97A33356}"/>
              </a:ext>
            </a:extLst>
          </p:cNvPr>
          <p:cNvSpPr txBox="1"/>
          <p:nvPr/>
        </p:nvSpPr>
        <p:spPr>
          <a:xfrm>
            <a:off x="8211404" y="2457438"/>
            <a:ext cx="1533395" cy="369332"/>
          </a:xfrm>
          <a:prstGeom prst="rect">
            <a:avLst/>
          </a:prstGeom>
          <a:solidFill>
            <a:schemeClr val="accent1">
              <a:lumMod val="20000"/>
              <a:lumOff val="80000"/>
            </a:schemeClr>
          </a:solidFill>
          <a:ln w="38100" cmpd="thickThin">
            <a:solidFill>
              <a:schemeClr val="accent1"/>
            </a:solidFill>
          </a:ln>
        </p:spPr>
        <p:txBody>
          <a:bodyPr wrap="square">
            <a:spAutoFit/>
          </a:bodyPr>
          <a:lstStyle/>
          <a:p>
            <a:r>
              <a:rPr lang="en-IN" b="0" i="0" dirty="0">
                <a:solidFill>
                  <a:srgbClr val="232323"/>
                </a:solidFill>
                <a:effectLst/>
                <a:latin typeface="Noto Sans" panose="020B0502040504020204" pitchFamily="34" charset="0"/>
              </a:rPr>
              <a:t>L-glutamine</a:t>
            </a:r>
            <a:endParaRPr lang="en-US" dirty="0"/>
          </a:p>
        </p:txBody>
      </p:sp>
      <p:sp>
        <p:nvSpPr>
          <p:cNvPr id="16" name="Oval 15">
            <a:extLst>
              <a:ext uri="{FF2B5EF4-FFF2-40B4-BE49-F238E27FC236}">
                <a16:creationId xmlns:a16="http://schemas.microsoft.com/office/drawing/2014/main" id="{E152E85D-BB35-2847-CF7E-598A1123F2E2}"/>
              </a:ext>
            </a:extLst>
          </p:cNvPr>
          <p:cNvSpPr/>
          <p:nvPr/>
        </p:nvSpPr>
        <p:spPr>
          <a:xfrm>
            <a:off x="8780395" y="3864581"/>
            <a:ext cx="395416" cy="395416"/>
          </a:xfrm>
          <a:prstGeom prst="ellipse">
            <a:avLst/>
          </a:prstGeom>
          <a:ln w="73025" cmpd="thickThi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804D6F71-F895-F4B0-CAE4-CBEB8847E4BA}"/>
              </a:ext>
            </a:extLst>
          </p:cNvPr>
          <p:cNvSpPr/>
          <p:nvPr/>
        </p:nvSpPr>
        <p:spPr>
          <a:xfrm>
            <a:off x="10556522" y="3867665"/>
            <a:ext cx="395416" cy="395416"/>
          </a:xfrm>
          <a:prstGeom prst="ellipse">
            <a:avLst/>
          </a:prstGeom>
          <a:ln w="73025" cmpd="thickThi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TextBox 18">
            <a:extLst>
              <a:ext uri="{FF2B5EF4-FFF2-40B4-BE49-F238E27FC236}">
                <a16:creationId xmlns:a16="http://schemas.microsoft.com/office/drawing/2014/main" id="{3C591A61-5664-8C91-B861-8022A06C716F}"/>
              </a:ext>
            </a:extLst>
          </p:cNvPr>
          <p:cNvSpPr txBox="1"/>
          <p:nvPr/>
        </p:nvSpPr>
        <p:spPr>
          <a:xfrm>
            <a:off x="8591007" y="5430573"/>
            <a:ext cx="1774267" cy="646331"/>
          </a:xfrm>
          <a:prstGeom prst="rect">
            <a:avLst/>
          </a:prstGeom>
          <a:solidFill>
            <a:schemeClr val="accent1">
              <a:lumMod val="20000"/>
              <a:lumOff val="80000"/>
            </a:schemeClr>
          </a:solidFill>
          <a:ln w="38100" cmpd="thickThin">
            <a:solidFill>
              <a:schemeClr val="accent1"/>
            </a:solidFill>
          </a:ln>
        </p:spPr>
        <p:txBody>
          <a:bodyPr wrap="square">
            <a:spAutoFit/>
          </a:bodyPr>
          <a:lstStyle/>
          <a:p>
            <a:pPr algn="ctr"/>
            <a:r>
              <a:rPr lang="en-IN" b="0" i="0" u="none" strike="noStrike" dirty="0">
                <a:solidFill>
                  <a:srgbClr val="005B92"/>
                </a:solidFill>
                <a:effectLst/>
                <a:latin typeface="Noto Sans" panose="020B0502040504020204" pitchFamily="34" charset="0"/>
                <a:hlinkClick r:id="rId3"/>
              </a:rPr>
              <a:t>Crizanlizumab</a:t>
            </a:r>
            <a:r>
              <a:rPr lang="en-IN" b="0" i="0" dirty="0">
                <a:solidFill>
                  <a:srgbClr val="232323"/>
                </a:solidFill>
                <a:effectLst/>
                <a:latin typeface="Noto Sans" panose="020B0502040504020204" pitchFamily="34" charset="0"/>
              </a:rPr>
              <a:t> </a:t>
            </a:r>
          </a:p>
          <a:p>
            <a:pPr algn="ctr"/>
            <a:r>
              <a:rPr lang="en-IN" b="0" i="0" u="none" strike="noStrike" dirty="0">
                <a:solidFill>
                  <a:srgbClr val="005B92"/>
                </a:solidFill>
                <a:effectLst/>
                <a:latin typeface="Noto Sans" panose="020B0502040504020204" pitchFamily="34" charset="0"/>
                <a:hlinkClick r:id="rId4"/>
              </a:rPr>
              <a:t>Voxelotor</a:t>
            </a:r>
            <a:endParaRPr lang="en-US" dirty="0"/>
          </a:p>
        </p:txBody>
      </p:sp>
      <p:cxnSp>
        <p:nvCxnSpPr>
          <p:cNvPr id="21" name="Straight Connector 20">
            <a:extLst>
              <a:ext uri="{FF2B5EF4-FFF2-40B4-BE49-F238E27FC236}">
                <a16:creationId xmlns:a16="http://schemas.microsoft.com/office/drawing/2014/main" id="{32D5C7E8-21C2-943F-844A-77D50291109B}"/>
              </a:ext>
            </a:extLst>
          </p:cNvPr>
          <p:cNvCxnSpPr>
            <a:stCxn id="8" idx="0"/>
            <a:endCxn id="11" idx="2"/>
          </p:cNvCxnSpPr>
          <p:nvPr/>
        </p:nvCxnSpPr>
        <p:spPr>
          <a:xfrm flipV="1">
            <a:off x="1297459" y="2337019"/>
            <a:ext cx="0" cy="1530646"/>
          </a:xfrm>
          <a:prstGeom prst="line">
            <a:avLst/>
          </a:prstGeom>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D6BFB62-E2CE-BE55-F59E-51E96A8BDA00}"/>
              </a:ext>
            </a:extLst>
          </p:cNvPr>
          <p:cNvCxnSpPr>
            <a:cxnSpLocks/>
            <a:stCxn id="9" idx="0"/>
            <a:endCxn id="13" idx="2"/>
          </p:cNvCxnSpPr>
          <p:nvPr/>
        </p:nvCxnSpPr>
        <p:spPr>
          <a:xfrm flipV="1">
            <a:off x="7190598" y="2337019"/>
            <a:ext cx="18799" cy="1530646"/>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0564730-58E6-CE7E-18BD-D99104BF921A}"/>
              </a:ext>
            </a:extLst>
          </p:cNvPr>
          <p:cNvCxnSpPr>
            <a:cxnSpLocks/>
            <a:stCxn id="15" idx="2"/>
            <a:endCxn id="16" idx="0"/>
          </p:cNvCxnSpPr>
          <p:nvPr/>
        </p:nvCxnSpPr>
        <p:spPr>
          <a:xfrm>
            <a:off x="8978102" y="2826770"/>
            <a:ext cx="1" cy="1037811"/>
          </a:xfrm>
          <a:prstGeom prst="line">
            <a:avLst/>
          </a:prstGeom>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1C758D51-CAD4-3DA3-97A6-8499E79D89DF}"/>
              </a:ext>
            </a:extLst>
          </p:cNvPr>
          <p:cNvCxnSpPr>
            <a:cxnSpLocks/>
            <a:stCxn id="10" idx="4"/>
            <a:endCxn id="19" idx="0"/>
          </p:cNvCxnSpPr>
          <p:nvPr/>
        </p:nvCxnSpPr>
        <p:spPr>
          <a:xfrm flipH="1">
            <a:off x="9478141" y="4263081"/>
            <a:ext cx="3605" cy="1167492"/>
          </a:xfrm>
          <a:prstGeom prst="line">
            <a:avLst/>
          </a:prstGeom>
        </p:spPr>
        <p:style>
          <a:lnRef idx="1">
            <a:schemeClr val="accent1"/>
          </a:lnRef>
          <a:fillRef idx="0">
            <a:schemeClr val="accent1"/>
          </a:fillRef>
          <a:effectRef idx="0">
            <a:schemeClr val="accent1"/>
          </a:effectRef>
          <a:fontRef idx="minor">
            <a:schemeClr val="tx1"/>
          </a:fontRef>
        </p:style>
      </p:cxnSp>
      <p:sp>
        <p:nvSpPr>
          <p:cNvPr id="31" name="TextBox 30">
            <a:extLst>
              <a:ext uri="{FF2B5EF4-FFF2-40B4-BE49-F238E27FC236}">
                <a16:creationId xmlns:a16="http://schemas.microsoft.com/office/drawing/2014/main" id="{25CC5F5B-DE28-CF20-42F8-5D10A44E15B4}"/>
              </a:ext>
            </a:extLst>
          </p:cNvPr>
          <p:cNvSpPr txBox="1"/>
          <p:nvPr/>
        </p:nvSpPr>
        <p:spPr>
          <a:xfrm>
            <a:off x="9831268" y="2955835"/>
            <a:ext cx="1845924" cy="369332"/>
          </a:xfrm>
          <a:prstGeom prst="rect">
            <a:avLst/>
          </a:prstGeom>
          <a:solidFill>
            <a:schemeClr val="accent1">
              <a:lumMod val="20000"/>
              <a:lumOff val="80000"/>
            </a:schemeClr>
          </a:solidFill>
          <a:ln w="38100" cmpd="thickThin">
            <a:solidFill>
              <a:schemeClr val="accent1"/>
            </a:solidFill>
          </a:ln>
        </p:spPr>
        <p:txBody>
          <a:bodyPr wrap="square">
            <a:spAutoFit/>
          </a:bodyPr>
          <a:lstStyle/>
          <a:p>
            <a:r>
              <a:rPr lang="en-IN" b="0" i="0" dirty="0">
                <a:solidFill>
                  <a:srgbClr val="232323"/>
                </a:solidFill>
                <a:effectLst/>
                <a:latin typeface="Noto Sans" panose="020B0502040504020204" pitchFamily="34" charset="0"/>
              </a:rPr>
              <a:t>New in pipeline</a:t>
            </a:r>
            <a:endParaRPr lang="en-US" dirty="0"/>
          </a:p>
        </p:txBody>
      </p:sp>
      <p:cxnSp>
        <p:nvCxnSpPr>
          <p:cNvPr id="33" name="Straight Connector 32">
            <a:extLst>
              <a:ext uri="{FF2B5EF4-FFF2-40B4-BE49-F238E27FC236}">
                <a16:creationId xmlns:a16="http://schemas.microsoft.com/office/drawing/2014/main" id="{B44931C8-26F1-0BC1-DEBF-C2D91CEABAA5}"/>
              </a:ext>
            </a:extLst>
          </p:cNvPr>
          <p:cNvCxnSpPr>
            <a:stCxn id="31" idx="2"/>
            <a:endCxn id="17" idx="0"/>
          </p:cNvCxnSpPr>
          <p:nvPr/>
        </p:nvCxnSpPr>
        <p:spPr>
          <a:xfrm>
            <a:off x="10754230" y="3325167"/>
            <a:ext cx="0" cy="542498"/>
          </a:xfrm>
          <a:prstGeom prst="line">
            <a:avLst/>
          </a:prstGeom>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3CDB9A80-A5D3-847A-DD5D-B4CD932DAFA1}"/>
              </a:ext>
            </a:extLst>
          </p:cNvPr>
          <p:cNvCxnSpPr>
            <a:cxnSpLocks/>
            <a:stCxn id="37" idx="3"/>
            <a:endCxn id="9" idx="2"/>
          </p:cNvCxnSpPr>
          <p:nvPr/>
        </p:nvCxnSpPr>
        <p:spPr>
          <a:xfrm flipV="1">
            <a:off x="4726500" y="4065373"/>
            <a:ext cx="2266390" cy="995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3BB4041C-41F1-4D3F-6FAF-74DD5705E241}"/>
              </a:ext>
            </a:extLst>
          </p:cNvPr>
          <p:cNvSpPr txBox="1"/>
          <p:nvPr/>
        </p:nvSpPr>
        <p:spPr>
          <a:xfrm>
            <a:off x="3761556" y="3890665"/>
            <a:ext cx="964944" cy="369332"/>
          </a:xfrm>
          <a:prstGeom prst="rect">
            <a:avLst/>
          </a:prstGeom>
          <a:noFill/>
          <a:ln w="38100" cmpd="thickThin">
            <a:solidFill>
              <a:schemeClr val="accent1"/>
            </a:solidFill>
          </a:ln>
        </p:spPr>
        <p:txBody>
          <a:bodyPr wrap="none" rtlCol="0">
            <a:spAutoFit/>
          </a:bodyPr>
          <a:lstStyle/>
          <a:p>
            <a:r>
              <a:rPr lang="en-US" dirty="0"/>
              <a:t>88 years</a:t>
            </a:r>
          </a:p>
        </p:txBody>
      </p:sp>
      <p:cxnSp>
        <p:nvCxnSpPr>
          <p:cNvPr id="40" name="Straight Arrow Connector 39">
            <a:extLst>
              <a:ext uri="{FF2B5EF4-FFF2-40B4-BE49-F238E27FC236}">
                <a16:creationId xmlns:a16="http://schemas.microsoft.com/office/drawing/2014/main" id="{0C151ACB-5C48-068D-5678-8A6D2CFEA386}"/>
              </a:ext>
            </a:extLst>
          </p:cNvPr>
          <p:cNvCxnSpPr>
            <a:cxnSpLocks/>
            <a:stCxn id="37" idx="1"/>
            <a:endCxn id="8" idx="6"/>
          </p:cNvCxnSpPr>
          <p:nvPr/>
        </p:nvCxnSpPr>
        <p:spPr>
          <a:xfrm flipH="1" flipV="1">
            <a:off x="1495167" y="4065373"/>
            <a:ext cx="2266389" cy="995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E81BBA46-20AA-408D-EB19-8B449C718CB3}"/>
              </a:ext>
            </a:extLst>
          </p:cNvPr>
          <p:cNvSpPr txBox="1"/>
          <p:nvPr/>
        </p:nvSpPr>
        <p:spPr>
          <a:xfrm>
            <a:off x="7613257" y="3880707"/>
            <a:ext cx="964944" cy="369332"/>
          </a:xfrm>
          <a:prstGeom prst="rect">
            <a:avLst/>
          </a:prstGeom>
          <a:noFill/>
          <a:ln w="38100" cmpd="thickThin">
            <a:solidFill>
              <a:schemeClr val="accent1"/>
            </a:solidFill>
          </a:ln>
        </p:spPr>
        <p:txBody>
          <a:bodyPr wrap="square" rtlCol="0">
            <a:spAutoFit/>
          </a:bodyPr>
          <a:lstStyle/>
          <a:p>
            <a:r>
              <a:rPr lang="en-US" dirty="0"/>
              <a:t>20 years</a:t>
            </a:r>
          </a:p>
        </p:txBody>
      </p:sp>
      <p:cxnSp>
        <p:nvCxnSpPr>
          <p:cNvPr id="53" name="Straight Arrow Connector 52">
            <a:extLst>
              <a:ext uri="{FF2B5EF4-FFF2-40B4-BE49-F238E27FC236}">
                <a16:creationId xmlns:a16="http://schemas.microsoft.com/office/drawing/2014/main" id="{8321A1D9-18D7-F198-D83B-A6E0A504C009}"/>
              </a:ext>
            </a:extLst>
          </p:cNvPr>
          <p:cNvCxnSpPr>
            <a:stCxn id="44" idx="1"/>
            <a:endCxn id="9" idx="6"/>
          </p:cNvCxnSpPr>
          <p:nvPr/>
        </p:nvCxnSpPr>
        <p:spPr>
          <a:xfrm flipH="1">
            <a:off x="7388306" y="4065373"/>
            <a:ext cx="22495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a:extLst>
              <a:ext uri="{FF2B5EF4-FFF2-40B4-BE49-F238E27FC236}">
                <a16:creationId xmlns:a16="http://schemas.microsoft.com/office/drawing/2014/main" id="{D942A4D7-8C2F-299C-E7AC-0D4B1C1FB461}"/>
              </a:ext>
            </a:extLst>
          </p:cNvPr>
          <p:cNvCxnSpPr>
            <a:stCxn id="44" idx="3"/>
            <a:endCxn id="16" idx="2"/>
          </p:cNvCxnSpPr>
          <p:nvPr/>
        </p:nvCxnSpPr>
        <p:spPr>
          <a:xfrm flipV="1">
            <a:off x="8578201" y="4062289"/>
            <a:ext cx="202194" cy="308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ED9EFC15-FA58-F967-5DEF-56B96F2D0562}"/>
              </a:ext>
            </a:extLst>
          </p:cNvPr>
          <p:cNvSpPr txBox="1"/>
          <p:nvPr/>
        </p:nvSpPr>
        <p:spPr>
          <a:xfrm>
            <a:off x="971086" y="4430925"/>
            <a:ext cx="652743" cy="369332"/>
          </a:xfrm>
          <a:prstGeom prst="rect">
            <a:avLst/>
          </a:prstGeom>
          <a:noFill/>
          <a:ln w="38100" cmpd="thickThin">
            <a:solidFill>
              <a:schemeClr val="accent1"/>
            </a:solidFill>
          </a:ln>
        </p:spPr>
        <p:txBody>
          <a:bodyPr wrap="none" rtlCol="0">
            <a:spAutoFit/>
          </a:bodyPr>
          <a:lstStyle/>
          <a:p>
            <a:r>
              <a:rPr lang="en-US" dirty="0"/>
              <a:t>1910</a:t>
            </a:r>
          </a:p>
        </p:txBody>
      </p:sp>
      <p:sp>
        <p:nvSpPr>
          <p:cNvPr id="68" name="TextBox 67">
            <a:extLst>
              <a:ext uri="{FF2B5EF4-FFF2-40B4-BE49-F238E27FC236}">
                <a16:creationId xmlns:a16="http://schemas.microsoft.com/office/drawing/2014/main" id="{51727DDE-F0DE-8733-E299-3980A76C36B5}"/>
              </a:ext>
            </a:extLst>
          </p:cNvPr>
          <p:cNvSpPr txBox="1"/>
          <p:nvPr/>
        </p:nvSpPr>
        <p:spPr>
          <a:xfrm>
            <a:off x="6860392" y="4437446"/>
            <a:ext cx="652743" cy="369332"/>
          </a:xfrm>
          <a:prstGeom prst="rect">
            <a:avLst/>
          </a:prstGeom>
          <a:noFill/>
          <a:ln w="38100" cmpd="thickThin">
            <a:solidFill>
              <a:schemeClr val="accent1"/>
            </a:solidFill>
          </a:ln>
        </p:spPr>
        <p:txBody>
          <a:bodyPr wrap="none" rtlCol="0">
            <a:spAutoFit/>
          </a:bodyPr>
          <a:lstStyle/>
          <a:p>
            <a:r>
              <a:rPr lang="en-US" dirty="0"/>
              <a:t>1998</a:t>
            </a:r>
          </a:p>
        </p:txBody>
      </p:sp>
      <p:sp>
        <p:nvSpPr>
          <p:cNvPr id="69" name="TextBox 68">
            <a:extLst>
              <a:ext uri="{FF2B5EF4-FFF2-40B4-BE49-F238E27FC236}">
                <a16:creationId xmlns:a16="http://schemas.microsoft.com/office/drawing/2014/main" id="{6FBB82A6-CA6E-51D0-9ACF-67ECA6D599E4}"/>
              </a:ext>
            </a:extLst>
          </p:cNvPr>
          <p:cNvSpPr txBox="1"/>
          <p:nvPr/>
        </p:nvSpPr>
        <p:spPr>
          <a:xfrm>
            <a:off x="8651729" y="3300625"/>
            <a:ext cx="652743" cy="369332"/>
          </a:xfrm>
          <a:prstGeom prst="rect">
            <a:avLst/>
          </a:prstGeom>
          <a:noFill/>
          <a:ln w="38100" cmpd="thickThin">
            <a:solidFill>
              <a:schemeClr val="accent1"/>
            </a:solidFill>
          </a:ln>
        </p:spPr>
        <p:txBody>
          <a:bodyPr wrap="none" rtlCol="0">
            <a:spAutoFit/>
          </a:bodyPr>
          <a:lstStyle/>
          <a:p>
            <a:r>
              <a:rPr lang="en-US" dirty="0"/>
              <a:t>2017</a:t>
            </a:r>
          </a:p>
        </p:txBody>
      </p:sp>
      <p:sp>
        <p:nvSpPr>
          <p:cNvPr id="70" name="TextBox 69">
            <a:extLst>
              <a:ext uri="{FF2B5EF4-FFF2-40B4-BE49-F238E27FC236}">
                <a16:creationId xmlns:a16="http://schemas.microsoft.com/office/drawing/2014/main" id="{A224675F-91BB-5A18-862C-3E75F567BE95}"/>
              </a:ext>
            </a:extLst>
          </p:cNvPr>
          <p:cNvSpPr txBox="1"/>
          <p:nvPr/>
        </p:nvSpPr>
        <p:spPr>
          <a:xfrm>
            <a:off x="9151770" y="4936098"/>
            <a:ext cx="652743" cy="369332"/>
          </a:xfrm>
          <a:prstGeom prst="rect">
            <a:avLst/>
          </a:prstGeom>
          <a:noFill/>
          <a:ln w="38100" cmpd="thickThin">
            <a:solidFill>
              <a:schemeClr val="accent1"/>
            </a:solidFill>
          </a:ln>
        </p:spPr>
        <p:txBody>
          <a:bodyPr wrap="none" rtlCol="0">
            <a:spAutoFit/>
          </a:bodyPr>
          <a:lstStyle/>
          <a:p>
            <a:r>
              <a:rPr lang="en-US" dirty="0"/>
              <a:t>2019</a:t>
            </a:r>
          </a:p>
        </p:txBody>
      </p:sp>
      <p:sp>
        <p:nvSpPr>
          <p:cNvPr id="84" name="Oval 83">
            <a:extLst>
              <a:ext uri="{FF2B5EF4-FFF2-40B4-BE49-F238E27FC236}">
                <a16:creationId xmlns:a16="http://schemas.microsoft.com/office/drawing/2014/main" id="{29B35DFE-1198-5919-E201-E9F517E8E648}"/>
              </a:ext>
            </a:extLst>
          </p:cNvPr>
          <p:cNvSpPr/>
          <p:nvPr/>
        </p:nvSpPr>
        <p:spPr>
          <a:xfrm>
            <a:off x="9905525" y="3876830"/>
            <a:ext cx="395416" cy="395416"/>
          </a:xfrm>
          <a:prstGeom prst="ellipse">
            <a:avLst/>
          </a:prstGeom>
          <a:ln w="73025" cmpd="thickThi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TextBox 84">
            <a:extLst>
              <a:ext uri="{FF2B5EF4-FFF2-40B4-BE49-F238E27FC236}">
                <a16:creationId xmlns:a16="http://schemas.microsoft.com/office/drawing/2014/main" id="{12912579-2D71-C40E-8DBA-DBF20F0909F6}"/>
              </a:ext>
            </a:extLst>
          </p:cNvPr>
          <p:cNvSpPr txBox="1"/>
          <p:nvPr/>
        </p:nvSpPr>
        <p:spPr>
          <a:xfrm>
            <a:off x="10359753" y="6261570"/>
            <a:ext cx="1722322" cy="369332"/>
          </a:xfrm>
          <a:prstGeom prst="rect">
            <a:avLst/>
          </a:prstGeom>
          <a:solidFill>
            <a:schemeClr val="accent1">
              <a:lumMod val="20000"/>
              <a:lumOff val="80000"/>
            </a:schemeClr>
          </a:solidFill>
          <a:ln w="38100" cmpd="thickThin">
            <a:solidFill>
              <a:schemeClr val="accent1"/>
            </a:solidFill>
          </a:ln>
        </p:spPr>
        <p:txBody>
          <a:bodyPr wrap="square">
            <a:spAutoFit/>
          </a:bodyPr>
          <a:lstStyle/>
          <a:p>
            <a:r>
              <a:rPr lang="en-IN" b="0" i="0" u="none" strike="noStrike" dirty="0">
                <a:solidFill>
                  <a:srgbClr val="005B92"/>
                </a:solidFill>
                <a:effectLst/>
                <a:latin typeface="Noto Sans" panose="020B0502040504020204" pitchFamily="34" charset="0"/>
              </a:rPr>
              <a:t>Gene therapy</a:t>
            </a:r>
            <a:endParaRPr lang="en-US" dirty="0"/>
          </a:p>
        </p:txBody>
      </p:sp>
      <p:sp>
        <p:nvSpPr>
          <p:cNvPr id="86" name="TextBox 85">
            <a:extLst>
              <a:ext uri="{FF2B5EF4-FFF2-40B4-BE49-F238E27FC236}">
                <a16:creationId xmlns:a16="http://schemas.microsoft.com/office/drawing/2014/main" id="{63AF3CF7-CB16-B479-9453-30F4BCC1FFB7}"/>
              </a:ext>
            </a:extLst>
          </p:cNvPr>
          <p:cNvSpPr txBox="1"/>
          <p:nvPr/>
        </p:nvSpPr>
        <p:spPr>
          <a:xfrm>
            <a:off x="10894542" y="5799905"/>
            <a:ext cx="652743" cy="369332"/>
          </a:xfrm>
          <a:prstGeom prst="rect">
            <a:avLst/>
          </a:prstGeom>
          <a:noFill/>
          <a:ln w="38100" cmpd="thickThin">
            <a:solidFill>
              <a:schemeClr val="accent1"/>
            </a:solidFill>
          </a:ln>
        </p:spPr>
        <p:txBody>
          <a:bodyPr wrap="none" rtlCol="0">
            <a:spAutoFit/>
          </a:bodyPr>
          <a:lstStyle/>
          <a:p>
            <a:r>
              <a:rPr lang="en-US" dirty="0"/>
              <a:t>2023</a:t>
            </a:r>
          </a:p>
        </p:txBody>
      </p:sp>
      <p:cxnSp>
        <p:nvCxnSpPr>
          <p:cNvPr id="94" name="Elbow Connector 93">
            <a:extLst>
              <a:ext uri="{FF2B5EF4-FFF2-40B4-BE49-F238E27FC236}">
                <a16:creationId xmlns:a16="http://schemas.microsoft.com/office/drawing/2014/main" id="{BC348EE2-12F2-6E08-562F-B0CB817A6539}"/>
              </a:ext>
            </a:extLst>
          </p:cNvPr>
          <p:cNvCxnSpPr>
            <a:cxnSpLocks/>
            <a:stCxn id="84" idx="4"/>
            <a:endCxn id="85" idx="0"/>
          </p:cNvCxnSpPr>
          <p:nvPr/>
        </p:nvCxnSpPr>
        <p:spPr>
          <a:xfrm rot="16200000" flipH="1">
            <a:off x="9667411" y="4708067"/>
            <a:ext cx="1989324" cy="1117681"/>
          </a:xfrm>
          <a:prstGeom prst="bentConnector3">
            <a:avLst/>
          </a:prstGeom>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D275B331-DBD9-F820-31BA-4798DE57CBCA}"/>
              </a:ext>
            </a:extLst>
          </p:cNvPr>
          <p:cNvCxnSpPr/>
          <p:nvPr/>
        </p:nvCxnSpPr>
        <p:spPr>
          <a:xfrm>
            <a:off x="8591007" y="5430573"/>
            <a:ext cx="1709934" cy="646331"/>
          </a:xfrm>
          <a:prstGeom prst="line">
            <a:avLst/>
          </a:prstGeom>
        </p:spPr>
        <p:style>
          <a:lnRef idx="3">
            <a:schemeClr val="accent2"/>
          </a:lnRef>
          <a:fillRef idx="0">
            <a:schemeClr val="accent2"/>
          </a:fillRef>
          <a:effectRef idx="2">
            <a:schemeClr val="accent2"/>
          </a:effectRef>
          <a:fontRef idx="minor">
            <a:schemeClr val="tx1"/>
          </a:fontRef>
        </p:style>
      </p:cxnSp>
      <p:cxnSp>
        <p:nvCxnSpPr>
          <p:cNvPr id="6" name="Straight Connector 5">
            <a:extLst>
              <a:ext uri="{FF2B5EF4-FFF2-40B4-BE49-F238E27FC236}">
                <a16:creationId xmlns:a16="http://schemas.microsoft.com/office/drawing/2014/main" id="{A7265436-381D-258E-06D9-6C6A481D2A30}"/>
              </a:ext>
            </a:extLst>
          </p:cNvPr>
          <p:cNvCxnSpPr/>
          <p:nvPr/>
        </p:nvCxnSpPr>
        <p:spPr>
          <a:xfrm flipV="1">
            <a:off x="8591007" y="5430573"/>
            <a:ext cx="1768746" cy="646331"/>
          </a:xfrm>
          <a:prstGeom prst="line">
            <a:avLst/>
          </a:prstGeom>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28872078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a:spLocks noGrp="1"/>
          </p:cNvSpPr>
          <p:nvPr>
            <p:ph type="title"/>
          </p:nvPr>
        </p:nvSpPr>
        <p:spPr/>
        <p:txBody>
          <a:bodyPr/>
          <a:lstStyle/>
          <a:p>
            <a:pPr eaLnBrk="1" hangingPunct="1"/>
            <a:r>
              <a:rPr lang="en-IN" altLang="en-US" sz="2800" b="1" u="sng"/>
              <a:t>Comprehensive Health care for Newborn Screening Programme</a:t>
            </a:r>
          </a:p>
        </p:txBody>
      </p:sp>
      <p:sp>
        <p:nvSpPr>
          <p:cNvPr id="3" name="Content Placeholder 2"/>
          <p:cNvSpPr>
            <a:spLocks noGrp="1"/>
          </p:cNvSpPr>
          <p:nvPr>
            <p:ph idx="1"/>
          </p:nvPr>
        </p:nvSpPr>
        <p:spPr/>
        <p:txBody>
          <a:bodyPr rtlCol="0">
            <a:normAutofit/>
          </a:bodyPr>
          <a:lstStyle/>
          <a:p>
            <a:pPr>
              <a:defRPr/>
            </a:pPr>
            <a:r>
              <a:rPr lang="en-IN" dirty="0"/>
              <a:t>Risk of infection</a:t>
            </a:r>
          </a:p>
          <a:p>
            <a:pPr marL="0" indent="0">
              <a:buNone/>
              <a:defRPr/>
            </a:pPr>
            <a:r>
              <a:rPr lang="en-IN" sz="2400" dirty="0"/>
              <a:t>           </a:t>
            </a:r>
            <a:r>
              <a:rPr lang="en-IN" sz="2400" b="1" dirty="0">
                <a:solidFill>
                  <a:srgbClr val="7030A0"/>
                </a:solidFill>
              </a:rPr>
              <a:t>Penicillin prophylaxis</a:t>
            </a:r>
          </a:p>
          <a:p>
            <a:pPr marL="0" indent="0">
              <a:buNone/>
              <a:defRPr/>
            </a:pPr>
            <a:r>
              <a:rPr lang="en-IN" sz="2400" b="1" dirty="0">
                <a:solidFill>
                  <a:srgbClr val="7030A0"/>
                </a:solidFill>
              </a:rPr>
              <a:t>           Vaccinations</a:t>
            </a:r>
          </a:p>
          <a:p>
            <a:pPr>
              <a:defRPr/>
            </a:pPr>
            <a:r>
              <a:rPr lang="en-IN" dirty="0"/>
              <a:t>Nutritional Supplements</a:t>
            </a:r>
          </a:p>
          <a:p>
            <a:pPr>
              <a:defRPr/>
            </a:pPr>
            <a:r>
              <a:rPr lang="en-IN" dirty="0"/>
              <a:t>Education and Counselling</a:t>
            </a:r>
          </a:p>
          <a:p>
            <a:pPr>
              <a:defRPr/>
            </a:pPr>
            <a:endParaRPr lang="en-IN" dirty="0"/>
          </a:p>
          <a:p>
            <a:pPr>
              <a:defRPr/>
            </a:pPr>
            <a:endParaRPr lang="en-IN" dirty="0"/>
          </a:p>
        </p:txBody>
      </p:sp>
      <p:pic>
        <p:nvPicPr>
          <p:cNvPr id="5124" name="Picture 4" descr="1412200734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816725" y="4221164"/>
            <a:ext cx="3060700" cy="181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125" name="Picture 14"/>
          <p:cNvPicPr>
            <a:picLocks noChangeAspect="1" noChangeArrowheads="1"/>
          </p:cNvPicPr>
          <p:nvPr/>
        </p:nvPicPr>
        <p:blipFill>
          <a:blip r:embed="rId3">
            <a:extLst>
              <a:ext uri="{28A0092B-C50C-407E-A947-70E740481C1C}">
                <a14:useLocalDpi xmlns:a14="http://schemas.microsoft.com/office/drawing/2010/main" val="0"/>
              </a:ext>
            </a:extLst>
          </a:blip>
          <a:srcRect l="33224" t="43211" r="18892" b="38667"/>
          <a:stretch>
            <a:fillRect/>
          </a:stretch>
        </p:blipFill>
        <p:spPr bwMode="auto">
          <a:xfrm>
            <a:off x="2351088" y="4221164"/>
            <a:ext cx="3084512" cy="1762125"/>
          </a:xfrm>
          <a:prstGeom prst="rect">
            <a:avLst/>
          </a:prstGeom>
          <a:noFill/>
          <a:ln w="9525">
            <a:solidFill>
              <a:srgbClr val="000099"/>
            </a:solidFill>
            <a:miter lim="800000"/>
            <a:headEnd/>
            <a:tailEnd/>
          </a:ln>
          <a:extLst>
            <a:ext uri="{909E8E84-426E-40DD-AFC4-6F175D3DCCD1}">
              <a14:hiddenFill xmlns:a14="http://schemas.microsoft.com/office/drawing/2010/main">
                <a:solidFill>
                  <a:srgbClr val="FFFFFF"/>
                </a:solidFill>
              </a14:hiddenFill>
            </a:ext>
          </a:extLst>
        </p:spPr>
      </p:pic>
      <p:sp>
        <p:nvSpPr>
          <p:cNvPr id="6" name="Rectangle 5"/>
          <p:cNvSpPr/>
          <p:nvPr/>
        </p:nvSpPr>
        <p:spPr>
          <a:xfrm>
            <a:off x="2566988" y="6308725"/>
            <a:ext cx="2665412" cy="4333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IN" b="1" dirty="0">
                <a:solidFill>
                  <a:srgbClr val="7030A0"/>
                </a:solidFill>
              </a:rPr>
              <a:t>DACTYLITIS</a:t>
            </a:r>
          </a:p>
        </p:txBody>
      </p:sp>
      <p:sp>
        <p:nvSpPr>
          <p:cNvPr id="7" name="Rectangle 6"/>
          <p:cNvSpPr/>
          <p:nvPr/>
        </p:nvSpPr>
        <p:spPr>
          <a:xfrm>
            <a:off x="6888164" y="6308725"/>
            <a:ext cx="2879725" cy="43338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IN" b="1" dirty="0">
                <a:solidFill>
                  <a:srgbClr val="7030A0"/>
                </a:solidFill>
              </a:rPr>
              <a:t>SEQUESTRATION CRISIS</a:t>
            </a:r>
          </a:p>
        </p:txBody>
      </p:sp>
    </p:spTree>
    <p:extLst>
      <p:ext uri="{BB962C8B-B14F-4D97-AF65-F5344CB8AC3E}">
        <p14:creationId xmlns:p14="http://schemas.microsoft.com/office/powerpoint/2010/main" val="10790026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71385315-2471-817C-DCEF-934BFAA3A6F5}"/>
              </a:ext>
            </a:extLst>
          </p:cNvPr>
          <p:cNvGraphicFramePr>
            <a:graphicFrameLocks noGrp="1"/>
          </p:cNvGraphicFramePr>
          <p:nvPr>
            <p:extLst>
              <p:ext uri="{D42A27DB-BD31-4B8C-83A1-F6EECF244321}">
                <p14:modId xmlns:p14="http://schemas.microsoft.com/office/powerpoint/2010/main" val="1353202257"/>
              </p:ext>
            </p:extLst>
          </p:nvPr>
        </p:nvGraphicFramePr>
        <p:xfrm>
          <a:off x="367990" y="702529"/>
          <a:ext cx="11471083" cy="5764057"/>
        </p:xfrm>
        <a:graphic>
          <a:graphicData uri="http://schemas.openxmlformats.org/drawingml/2006/table">
            <a:tbl>
              <a:tblPr firstRow="1" firstCol="1" bandRow="1">
                <a:tableStyleId>{5C22544A-7EE6-4342-B048-85BDC9FD1C3A}</a:tableStyleId>
              </a:tblPr>
              <a:tblGrid>
                <a:gridCol w="3938511">
                  <a:extLst>
                    <a:ext uri="{9D8B030D-6E8A-4147-A177-3AD203B41FA5}">
                      <a16:colId xmlns:a16="http://schemas.microsoft.com/office/drawing/2014/main" val="2533607208"/>
                    </a:ext>
                  </a:extLst>
                </a:gridCol>
                <a:gridCol w="7532572">
                  <a:extLst>
                    <a:ext uri="{9D8B030D-6E8A-4147-A177-3AD203B41FA5}">
                      <a16:colId xmlns:a16="http://schemas.microsoft.com/office/drawing/2014/main" val="1539692922"/>
                    </a:ext>
                  </a:extLst>
                </a:gridCol>
              </a:tblGrid>
              <a:tr h="48758">
                <a:tc gridSpan="2">
                  <a:txBody>
                    <a:bodyPr/>
                    <a:lstStyle/>
                    <a:p>
                      <a:pPr>
                        <a:lnSpc>
                          <a:spcPct val="107000"/>
                        </a:lnSpc>
                      </a:pPr>
                      <a:endParaRPr lang="en-IN" sz="400" kern="100" dirty="0">
                        <a:effectLst/>
                        <a:latin typeface="Calibri" panose="020F0502020204030204" pitchFamily="34" charset="0"/>
                        <a:cs typeface="Times New Roman" panose="02020603050405020304" pitchFamily="18" charset="0"/>
                      </a:endParaRPr>
                    </a:p>
                  </a:txBody>
                  <a:tcPr marL="3599" marR="3599" marT="3599" marB="3599" anchor="ctr"/>
                </a:tc>
                <a:tc hMerge="1">
                  <a:txBody>
                    <a:bodyPr/>
                    <a:lstStyle/>
                    <a:p>
                      <a:endParaRPr lang="en-IN"/>
                    </a:p>
                  </a:txBody>
                  <a:tcPr/>
                </a:tc>
                <a:extLst>
                  <a:ext uri="{0D108BD9-81ED-4DB2-BD59-A6C34878D82A}">
                    <a16:rowId xmlns:a16="http://schemas.microsoft.com/office/drawing/2014/main" val="2666733897"/>
                  </a:ext>
                </a:extLst>
              </a:tr>
              <a:tr h="202756">
                <a:tc>
                  <a:txBody>
                    <a:bodyPr/>
                    <a:lstStyle/>
                    <a:p>
                      <a:pPr>
                        <a:lnSpc>
                          <a:spcPct val="200000"/>
                        </a:lnSpc>
                        <a:spcAft>
                          <a:spcPts val="800"/>
                        </a:spcAft>
                      </a:pPr>
                      <a:r>
                        <a:rPr lang="en-US" sz="1050" kern="100" dirty="0">
                          <a:effectLst/>
                        </a:rPr>
                        <a:t>Vaccine </a:t>
                      </a:r>
                      <a:endParaRPr lang="en-IN" sz="105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3599" marR="3599" marT="3599" marB="3599" anchor="ctr"/>
                </a:tc>
                <a:tc>
                  <a:txBody>
                    <a:bodyPr/>
                    <a:lstStyle/>
                    <a:p>
                      <a:pPr>
                        <a:lnSpc>
                          <a:spcPct val="200000"/>
                        </a:lnSpc>
                        <a:spcAft>
                          <a:spcPts val="800"/>
                        </a:spcAft>
                      </a:pPr>
                      <a:r>
                        <a:rPr lang="en-US" sz="1050" kern="100" dirty="0">
                          <a:effectLst/>
                        </a:rPr>
                        <a:t>Age/ Frequency route IM </a:t>
                      </a:r>
                      <a:endParaRPr lang="en-IN" sz="105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3599" marR="3599" marT="3599" marB="3599" anchor="ctr"/>
                </a:tc>
                <a:extLst>
                  <a:ext uri="{0D108BD9-81ED-4DB2-BD59-A6C34878D82A}">
                    <a16:rowId xmlns:a16="http://schemas.microsoft.com/office/drawing/2014/main" val="175328343"/>
                  </a:ext>
                </a:extLst>
              </a:tr>
              <a:tr h="496922">
                <a:tc>
                  <a:txBody>
                    <a:bodyPr/>
                    <a:lstStyle/>
                    <a:p>
                      <a:pPr>
                        <a:lnSpc>
                          <a:spcPct val="200000"/>
                        </a:lnSpc>
                        <a:spcAft>
                          <a:spcPts val="800"/>
                        </a:spcAft>
                      </a:pPr>
                      <a:r>
                        <a:rPr lang="en-US" sz="1050" kern="100" dirty="0">
                          <a:effectLst/>
                        </a:rPr>
                        <a:t>Pneumococcal Vaccine (conjugated) (PCV13/10) &amp; Pneumococcal Vaccine (Polysaccharide) (PPSV23) </a:t>
                      </a:r>
                      <a:endParaRPr lang="en-IN" sz="105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3599" marR="3599" marT="3599" marB="3599" anchor="ctr"/>
                </a:tc>
                <a:tc>
                  <a:txBody>
                    <a:bodyPr/>
                    <a:lstStyle/>
                    <a:p>
                      <a:pPr>
                        <a:lnSpc>
                          <a:spcPct val="200000"/>
                        </a:lnSpc>
                        <a:spcAft>
                          <a:spcPts val="800"/>
                        </a:spcAft>
                      </a:pPr>
                      <a:r>
                        <a:rPr lang="en-US" sz="1050" kern="100" dirty="0">
                          <a:effectLst/>
                        </a:rPr>
                        <a:t>Starting at 6 weeks, 10 weeks, 14 weeks and</a:t>
                      </a:r>
                      <a:endParaRPr lang="en-IN" sz="1050" kern="100" dirty="0">
                        <a:effectLst/>
                      </a:endParaRPr>
                    </a:p>
                    <a:p>
                      <a:pPr>
                        <a:lnSpc>
                          <a:spcPct val="200000"/>
                        </a:lnSpc>
                        <a:spcAft>
                          <a:spcPts val="800"/>
                        </a:spcAft>
                      </a:pPr>
                      <a:r>
                        <a:rPr lang="en-US" sz="1050" kern="100" dirty="0">
                          <a:effectLst/>
                        </a:rPr>
                        <a:t>booster 15 months (4 doses of PCV13/10) Then administer PPSV23 at 2 years </a:t>
                      </a:r>
                      <a:endParaRPr lang="en-IN" sz="105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3599" marR="3599" marT="3599" marB="3599" anchor="ctr"/>
                </a:tc>
                <a:extLst>
                  <a:ext uri="{0D108BD9-81ED-4DB2-BD59-A6C34878D82A}">
                    <a16:rowId xmlns:a16="http://schemas.microsoft.com/office/drawing/2014/main" val="322279654"/>
                  </a:ext>
                </a:extLst>
              </a:tr>
              <a:tr h="700349">
                <a:tc rowSpan="2">
                  <a:txBody>
                    <a:bodyPr/>
                    <a:lstStyle/>
                    <a:p>
                      <a:pPr>
                        <a:lnSpc>
                          <a:spcPct val="200000"/>
                        </a:lnSpc>
                        <a:spcAft>
                          <a:spcPts val="800"/>
                        </a:spcAft>
                      </a:pPr>
                      <a:r>
                        <a:rPr lang="en-US" sz="1050" kern="100" dirty="0">
                          <a:effectLst/>
                        </a:rPr>
                        <a:t>Pneumococcal Vaccine (conjugated) (PCV13/10) </a:t>
                      </a:r>
                      <a:endParaRPr lang="en-IN" sz="1050" kern="100" dirty="0">
                        <a:effectLst/>
                      </a:endParaRPr>
                    </a:p>
                    <a:p>
                      <a:pPr>
                        <a:lnSpc>
                          <a:spcPct val="200000"/>
                        </a:lnSpc>
                        <a:spcAft>
                          <a:spcPts val="800"/>
                        </a:spcAft>
                      </a:pPr>
                      <a:r>
                        <a:rPr lang="en-US" sz="1050" kern="100" dirty="0">
                          <a:effectLst/>
                        </a:rPr>
                        <a:t>&amp; </a:t>
                      </a:r>
                      <a:endParaRPr lang="en-IN" sz="1050" kern="100" dirty="0">
                        <a:effectLst/>
                      </a:endParaRPr>
                    </a:p>
                    <a:p>
                      <a:pPr>
                        <a:lnSpc>
                          <a:spcPct val="200000"/>
                        </a:lnSpc>
                        <a:spcAft>
                          <a:spcPts val="800"/>
                        </a:spcAft>
                      </a:pPr>
                      <a:r>
                        <a:rPr lang="en-US" sz="1050" kern="100" dirty="0">
                          <a:effectLst/>
                        </a:rPr>
                        <a:t>Pneumococcal Vaccine (Polysaccharide) (PPSV23) </a:t>
                      </a:r>
                      <a:endParaRPr lang="en-IN" sz="105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3599" marR="3599" marT="3599" marB="3599" anchor="ctr"/>
                </a:tc>
                <a:tc>
                  <a:txBody>
                    <a:bodyPr/>
                    <a:lstStyle/>
                    <a:p>
                      <a:pPr>
                        <a:lnSpc>
                          <a:spcPct val="200000"/>
                        </a:lnSpc>
                        <a:spcAft>
                          <a:spcPts val="800"/>
                        </a:spcAft>
                      </a:pPr>
                      <a:r>
                        <a:rPr lang="en-US" sz="600" kern="100" dirty="0">
                          <a:effectLst/>
                        </a:rPr>
                        <a:t>(</a:t>
                      </a:r>
                      <a:r>
                        <a:rPr lang="en-US" sz="900" kern="100" dirty="0">
                          <a:effectLst/>
                        </a:rPr>
                        <a:t>Sickle cell disease) (In IAP this schedule for 1-2 years of normal children only) </a:t>
                      </a:r>
                      <a:endParaRPr lang="en-IN" sz="900" kern="100" dirty="0">
                        <a:effectLst/>
                      </a:endParaRPr>
                    </a:p>
                    <a:p>
                      <a:pPr>
                        <a:lnSpc>
                          <a:spcPct val="200000"/>
                        </a:lnSpc>
                        <a:spcAft>
                          <a:spcPts val="800"/>
                        </a:spcAft>
                      </a:pPr>
                      <a:r>
                        <a:rPr lang="en-US" sz="900" kern="100" dirty="0">
                          <a:effectLst/>
                        </a:rPr>
                        <a:t>If child 1 year old till 5 years: give at least 2 doses of PCV13/PCV10 at intervals of 4 weeks,</a:t>
                      </a:r>
                      <a:endParaRPr lang="en-IN" sz="900" kern="100" dirty="0">
                        <a:effectLst/>
                      </a:endParaRPr>
                    </a:p>
                    <a:p>
                      <a:pPr>
                        <a:lnSpc>
                          <a:spcPct val="200000"/>
                        </a:lnSpc>
                        <a:spcAft>
                          <a:spcPts val="800"/>
                        </a:spcAft>
                      </a:pPr>
                      <a:r>
                        <a:rPr lang="en-US" sz="900" kern="100" dirty="0">
                          <a:effectLst/>
                        </a:rPr>
                        <a:t>Followed by booster PPSV23 after at least 2 months gap (CDC recommendation)</a:t>
                      </a:r>
                      <a:endParaRPr lang="en-IN" sz="9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3599" marR="3599" marT="3599" marB="3599" anchor="ctr"/>
                </a:tc>
                <a:extLst>
                  <a:ext uri="{0D108BD9-81ED-4DB2-BD59-A6C34878D82A}">
                    <a16:rowId xmlns:a16="http://schemas.microsoft.com/office/drawing/2014/main" val="2662507692"/>
                  </a:ext>
                </a:extLst>
              </a:tr>
              <a:tr h="1331553">
                <a:tc vMerge="1">
                  <a:txBody>
                    <a:bodyPr/>
                    <a:lstStyle/>
                    <a:p>
                      <a:endParaRPr lang="en-IN"/>
                    </a:p>
                  </a:txBody>
                  <a:tcPr/>
                </a:tc>
                <a:tc>
                  <a:txBody>
                    <a:bodyPr/>
                    <a:lstStyle/>
                    <a:p>
                      <a:pPr>
                        <a:lnSpc>
                          <a:spcPct val="200000"/>
                        </a:lnSpc>
                        <a:spcAft>
                          <a:spcPts val="800"/>
                        </a:spcAft>
                      </a:pPr>
                      <a:r>
                        <a:rPr lang="en-US" sz="1000" kern="100" dirty="0">
                          <a:effectLst/>
                        </a:rPr>
                        <a:t>(Sickle cell disease) (In IAP this schedule for all normal children &gt;2 years old) </a:t>
                      </a:r>
                      <a:endParaRPr lang="en-IN" sz="1000" kern="100" dirty="0">
                        <a:effectLst/>
                      </a:endParaRPr>
                    </a:p>
                    <a:p>
                      <a:pPr>
                        <a:lnSpc>
                          <a:spcPct val="200000"/>
                        </a:lnSpc>
                        <a:spcAft>
                          <a:spcPts val="800"/>
                        </a:spcAft>
                      </a:pPr>
                      <a:r>
                        <a:rPr lang="en-US" sz="1000" kern="100" dirty="0">
                          <a:effectLst/>
                        </a:rPr>
                        <a:t>6 years till 18 years: Then only one dose PCV13/PCV10 is required, </a:t>
                      </a:r>
                      <a:endParaRPr lang="en-IN" sz="1000" kern="100" dirty="0">
                        <a:effectLst/>
                      </a:endParaRPr>
                    </a:p>
                    <a:p>
                      <a:pPr>
                        <a:lnSpc>
                          <a:spcPct val="200000"/>
                        </a:lnSpc>
                        <a:spcAft>
                          <a:spcPts val="800"/>
                        </a:spcAft>
                      </a:pPr>
                      <a:r>
                        <a:rPr lang="en-US" sz="1000" kern="100" dirty="0">
                          <a:effectLst/>
                        </a:rPr>
                        <a:t>followed by booster with PPSV23 after 2months of the PCV13/10.</a:t>
                      </a:r>
                      <a:endParaRPr lang="en-IN" sz="1000" kern="100" dirty="0">
                        <a:effectLst/>
                      </a:endParaRPr>
                    </a:p>
                    <a:p>
                      <a:pPr>
                        <a:lnSpc>
                          <a:spcPct val="200000"/>
                        </a:lnSpc>
                        <a:spcAft>
                          <a:spcPts val="800"/>
                        </a:spcAft>
                      </a:pPr>
                      <a:r>
                        <a:rPr lang="en-US" sz="1000" kern="100" dirty="0">
                          <a:effectLst/>
                        </a:rPr>
                        <a:t>After 5 years of last PPSV23 should receive booster of PPSV23 </a:t>
                      </a:r>
                      <a:endParaRPr lang="en-IN" sz="1000" kern="100" dirty="0">
                        <a:effectLst/>
                      </a:endParaRPr>
                    </a:p>
                    <a:p>
                      <a:pPr>
                        <a:lnSpc>
                          <a:spcPct val="200000"/>
                        </a:lnSpc>
                        <a:spcAft>
                          <a:spcPts val="800"/>
                        </a:spcAft>
                      </a:pPr>
                      <a:r>
                        <a:rPr lang="en-US" sz="1000" kern="100" dirty="0">
                          <a:effectLst/>
                        </a:rPr>
                        <a:t>(CDC recommendation) </a:t>
                      </a:r>
                      <a:endParaRPr lang="en-IN"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3599" marR="3599" marT="3599" marB="3599" anchor="ctr"/>
                </a:tc>
                <a:extLst>
                  <a:ext uri="{0D108BD9-81ED-4DB2-BD59-A6C34878D82A}">
                    <a16:rowId xmlns:a16="http://schemas.microsoft.com/office/drawing/2014/main" val="3153392183"/>
                  </a:ext>
                </a:extLst>
              </a:tr>
              <a:tr h="476890">
                <a:tc>
                  <a:txBody>
                    <a:bodyPr/>
                    <a:lstStyle/>
                    <a:p>
                      <a:pPr>
                        <a:lnSpc>
                          <a:spcPct val="200000"/>
                        </a:lnSpc>
                        <a:spcAft>
                          <a:spcPts val="800"/>
                        </a:spcAft>
                      </a:pPr>
                      <a:r>
                        <a:rPr lang="en-US" sz="1050" kern="100" dirty="0">
                          <a:effectLst/>
                        </a:rPr>
                        <a:t>H-influenza vaccine </a:t>
                      </a:r>
                      <a:endParaRPr lang="en-IN" sz="105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3599" marR="3599" marT="3599" marB="3599" anchor="ctr"/>
                </a:tc>
                <a:tc>
                  <a:txBody>
                    <a:bodyPr/>
                    <a:lstStyle/>
                    <a:p>
                      <a:pPr>
                        <a:lnSpc>
                          <a:spcPct val="200000"/>
                        </a:lnSpc>
                        <a:spcAft>
                          <a:spcPts val="800"/>
                        </a:spcAft>
                      </a:pPr>
                      <a:r>
                        <a:rPr lang="en-US" sz="1000" kern="100" dirty="0">
                          <a:effectLst/>
                        </a:rPr>
                        <a:t>&lt;1 year, 3 doses at an interval of 1 month; &lt;2 years, 2 doses at an interval of 1 year </a:t>
                      </a:r>
                      <a:endParaRPr lang="en-IN" sz="1000" kern="100" dirty="0">
                        <a:effectLst/>
                      </a:endParaRPr>
                    </a:p>
                    <a:p>
                      <a:pPr>
                        <a:lnSpc>
                          <a:spcPct val="200000"/>
                        </a:lnSpc>
                        <a:spcAft>
                          <a:spcPts val="800"/>
                        </a:spcAft>
                      </a:pPr>
                      <a:r>
                        <a:rPr lang="en-US" sz="1000" kern="100" dirty="0">
                          <a:effectLst/>
                        </a:rPr>
                        <a:t>&gt;2 years, 1 dose </a:t>
                      </a:r>
                      <a:endParaRPr lang="en-IN"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3599" marR="3599" marT="3599" marB="3599" anchor="ctr"/>
                </a:tc>
                <a:extLst>
                  <a:ext uri="{0D108BD9-81ED-4DB2-BD59-A6C34878D82A}">
                    <a16:rowId xmlns:a16="http://schemas.microsoft.com/office/drawing/2014/main" val="2583172996"/>
                  </a:ext>
                </a:extLst>
              </a:tr>
              <a:tr h="202756">
                <a:tc>
                  <a:txBody>
                    <a:bodyPr/>
                    <a:lstStyle/>
                    <a:p>
                      <a:pPr>
                        <a:lnSpc>
                          <a:spcPct val="200000"/>
                        </a:lnSpc>
                        <a:spcAft>
                          <a:spcPts val="800"/>
                        </a:spcAft>
                      </a:pPr>
                      <a:r>
                        <a:rPr lang="en-US" sz="1050" kern="100" dirty="0">
                          <a:effectLst/>
                        </a:rPr>
                        <a:t>Typhoid Vaccine (Conjugate) (TCV)</a:t>
                      </a:r>
                      <a:endParaRPr lang="en-IN" sz="1050" kern="100" dirty="0">
                        <a:effectLst/>
                      </a:endParaRPr>
                    </a:p>
                  </a:txBody>
                  <a:tcPr marL="3599" marR="3599" marT="3599" marB="3599" anchor="ctr"/>
                </a:tc>
                <a:tc>
                  <a:txBody>
                    <a:bodyPr/>
                    <a:lstStyle/>
                    <a:p>
                      <a:pPr>
                        <a:lnSpc>
                          <a:spcPct val="200000"/>
                        </a:lnSpc>
                        <a:spcAft>
                          <a:spcPts val="800"/>
                        </a:spcAft>
                      </a:pPr>
                      <a:r>
                        <a:rPr lang="en-US" sz="1000" kern="100" dirty="0">
                          <a:effectLst/>
                        </a:rPr>
                        <a:t>First dose from 6 months of age till any age </a:t>
                      </a:r>
                      <a:endParaRPr lang="en-IN" sz="1000" kern="100" dirty="0">
                        <a:effectLst/>
                      </a:endParaRPr>
                    </a:p>
                  </a:txBody>
                  <a:tcPr marL="3599" marR="3599" marT="3599" marB="3599" anchor="ctr"/>
                </a:tc>
                <a:extLst>
                  <a:ext uri="{0D108BD9-81ED-4DB2-BD59-A6C34878D82A}">
                    <a16:rowId xmlns:a16="http://schemas.microsoft.com/office/drawing/2014/main" val="1815007368"/>
                  </a:ext>
                </a:extLst>
              </a:tr>
              <a:tr h="202756">
                <a:tc>
                  <a:txBody>
                    <a:bodyPr/>
                    <a:lstStyle/>
                    <a:p>
                      <a:pPr>
                        <a:lnSpc>
                          <a:spcPct val="200000"/>
                        </a:lnSpc>
                        <a:spcAft>
                          <a:spcPts val="800"/>
                        </a:spcAft>
                      </a:pPr>
                      <a:r>
                        <a:rPr lang="en-US" sz="1050" kern="100" dirty="0">
                          <a:effectLst/>
                        </a:rPr>
                        <a:t>Typhoid Polysaccharide </a:t>
                      </a:r>
                      <a:r>
                        <a:rPr lang="en-US" sz="1050" kern="100" dirty="0" err="1">
                          <a:effectLst/>
                        </a:rPr>
                        <a:t>vac</a:t>
                      </a:r>
                      <a:r>
                        <a:rPr lang="en-US" sz="1050" kern="100" dirty="0">
                          <a:effectLst/>
                        </a:rPr>
                        <a:t>- cine(PFS)</a:t>
                      </a:r>
                      <a:endParaRPr lang="en-IN" sz="105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3599" marR="3599" marT="3599" marB="3599" anchor="ctr"/>
                </a:tc>
                <a:tc>
                  <a:txBody>
                    <a:bodyPr/>
                    <a:lstStyle/>
                    <a:p>
                      <a:pPr>
                        <a:lnSpc>
                          <a:spcPct val="200000"/>
                        </a:lnSpc>
                        <a:spcAft>
                          <a:spcPts val="800"/>
                        </a:spcAft>
                      </a:pPr>
                      <a:r>
                        <a:rPr lang="en-US" sz="1000" kern="100" dirty="0">
                          <a:effectLst/>
                        </a:rPr>
                        <a:t>Given &gt;2 years and booster dose every 3 every year</a:t>
                      </a:r>
                      <a:endParaRPr lang="en-IN"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3599" marR="3599" marT="3599" marB="3599" anchor="ctr"/>
                </a:tc>
                <a:extLst>
                  <a:ext uri="{0D108BD9-81ED-4DB2-BD59-A6C34878D82A}">
                    <a16:rowId xmlns:a16="http://schemas.microsoft.com/office/drawing/2014/main" val="1124761609"/>
                  </a:ext>
                </a:extLst>
              </a:tr>
              <a:tr h="202756">
                <a:tc>
                  <a:txBody>
                    <a:bodyPr/>
                    <a:lstStyle/>
                    <a:p>
                      <a:pPr>
                        <a:lnSpc>
                          <a:spcPct val="200000"/>
                        </a:lnSpc>
                        <a:spcAft>
                          <a:spcPts val="800"/>
                        </a:spcAft>
                      </a:pPr>
                      <a:r>
                        <a:rPr lang="en-US" sz="1050" kern="100" dirty="0">
                          <a:effectLst/>
                        </a:rPr>
                        <a:t>Influenza vaccine </a:t>
                      </a:r>
                      <a:endParaRPr lang="en-IN" sz="1050" kern="100" dirty="0">
                        <a:effectLst/>
                      </a:endParaRPr>
                    </a:p>
                  </a:txBody>
                  <a:tcPr marL="3599" marR="3599" marT="3599" marB="3599" anchor="ctr"/>
                </a:tc>
                <a:tc>
                  <a:txBody>
                    <a:bodyPr/>
                    <a:lstStyle/>
                    <a:p>
                      <a:pPr>
                        <a:lnSpc>
                          <a:spcPct val="200000"/>
                        </a:lnSpc>
                        <a:spcAft>
                          <a:spcPts val="800"/>
                        </a:spcAft>
                      </a:pPr>
                      <a:r>
                        <a:rPr lang="en-US" sz="1000" kern="100" dirty="0">
                          <a:effectLst/>
                        </a:rPr>
                        <a:t>Annually </a:t>
                      </a:r>
                      <a:endParaRPr lang="en-IN"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3599" marR="3599" marT="3599" marB="3599" anchor="ctr"/>
                </a:tc>
                <a:extLst>
                  <a:ext uri="{0D108BD9-81ED-4DB2-BD59-A6C34878D82A}">
                    <a16:rowId xmlns:a16="http://schemas.microsoft.com/office/drawing/2014/main" val="3825958409"/>
                  </a:ext>
                </a:extLst>
              </a:tr>
              <a:tr h="202756">
                <a:tc>
                  <a:txBody>
                    <a:bodyPr/>
                    <a:lstStyle/>
                    <a:p>
                      <a:pPr>
                        <a:lnSpc>
                          <a:spcPct val="200000"/>
                        </a:lnSpc>
                        <a:spcAft>
                          <a:spcPts val="800"/>
                        </a:spcAft>
                      </a:pPr>
                      <a:r>
                        <a:rPr lang="en-US" sz="1050" kern="100" dirty="0" err="1">
                          <a:effectLst/>
                        </a:rPr>
                        <a:t>Covid</a:t>
                      </a:r>
                      <a:r>
                        <a:rPr lang="en-US" sz="1050" kern="100" dirty="0">
                          <a:effectLst/>
                        </a:rPr>
                        <a:t> 19 vaccine </a:t>
                      </a:r>
                      <a:endParaRPr lang="en-IN" sz="105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3599" marR="3599" marT="3599" marB="3599" anchor="ctr"/>
                </a:tc>
                <a:tc>
                  <a:txBody>
                    <a:bodyPr/>
                    <a:lstStyle/>
                    <a:p>
                      <a:pPr>
                        <a:lnSpc>
                          <a:spcPct val="200000"/>
                        </a:lnSpc>
                        <a:spcAft>
                          <a:spcPts val="800"/>
                        </a:spcAft>
                      </a:pPr>
                      <a:r>
                        <a:rPr lang="en-US" sz="1000" kern="100" dirty="0">
                          <a:effectLst/>
                        </a:rPr>
                        <a:t>As per government guidelines</a:t>
                      </a:r>
                      <a:endParaRPr lang="en-IN"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3599" marR="3599" marT="3599" marB="3599" anchor="ctr"/>
                </a:tc>
                <a:extLst>
                  <a:ext uri="{0D108BD9-81ED-4DB2-BD59-A6C34878D82A}">
                    <a16:rowId xmlns:a16="http://schemas.microsoft.com/office/drawing/2014/main" val="245249323"/>
                  </a:ext>
                </a:extLst>
              </a:tr>
            </a:tbl>
          </a:graphicData>
        </a:graphic>
      </p:graphicFrame>
      <p:sp>
        <p:nvSpPr>
          <p:cNvPr id="3" name="TextBox 2">
            <a:extLst>
              <a:ext uri="{FF2B5EF4-FFF2-40B4-BE49-F238E27FC236}">
                <a16:creationId xmlns:a16="http://schemas.microsoft.com/office/drawing/2014/main" id="{2A5826CD-D658-67A4-E7C6-C5F98D94F76B}"/>
              </a:ext>
            </a:extLst>
          </p:cNvPr>
          <p:cNvSpPr txBox="1"/>
          <p:nvPr/>
        </p:nvSpPr>
        <p:spPr>
          <a:xfrm>
            <a:off x="2639410" y="163403"/>
            <a:ext cx="8358188" cy="646331"/>
          </a:xfrm>
          <a:prstGeom prst="rect">
            <a:avLst/>
          </a:prstGeom>
          <a:noFill/>
        </p:spPr>
        <p:txBody>
          <a:bodyPr wrap="square" rtlCol="0">
            <a:spAutoFit/>
          </a:bodyPr>
          <a:lstStyle/>
          <a:p>
            <a:r>
              <a:rPr lang="en-US" sz="1800" kern="100" dirty="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Immunization schedule in addition to Routine Immunization for children</a:t>
            </a:r>
            <a:endParaRPr lang="en-IN"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IN" dirty="0"/>
          </a:p>
        </p:txBody>
      </p:sp>
    </p:spTree>
    <p:extLst>
      <p:ext uri="{BB962C8B-B14F-4D97-AF65-F5344CB8AC3E}">
        <p14:creationId xmlns:p14="http://schemas.microsoft.com/office/powerpoint/2010/main" val="5312607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7D144591-E9E9-4209-8701-3BB48A917D5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979FB267-68A3-41DB-99E4-30DCEEDB63F5}"/>
              </a:ext>
            </a:extLst>
          </p:cNvPr>
          <p:cNvSpPr>
            <a:spLocks noGrp="1"/>
          </p:cNvSpPr>
          <p:nvPr>
            <p:ph type="title"/>
          </p:nvPr>
        </p:nvSpPr>
        <p:spPr>
          <a:xfrm>
            <a:off x="417855" y="225021"/>
            <a:ext cx="8889430" cy="838200"/>
          </a:xfrm>
        </p:spPr>
        <p:txBody>
          <a:bodyPr>
            <a:normAutofit fontScale="90000"/>
          </a:bodyPr>
          <a:lstStyle/>
          <a:p>
            <a:r>
              <a:rPr lang="en-US" sz="4000" dirty="0"/>
              <a:t>Management of Acute Complications</a:t>
            </a:r>
          </a:p>
        </p:txBody>
      </p:sp>
      <p:graphicFrame>
        <p:nvGraphicFramePr>
          <p:cNvPr id="3" name="Content Placeholder 2">
            <a:extLst>
              <a:ext uri="{FF2B5EF4-FFF2-40B4-BE49-F238E27FC236}">
                <a16:creationId xmlns:a16="http://schemas.microsoft.com/office/drawing/2014/main" id="{28DB396C-A6FB-462E-AA6D-7FAAE4E6DEAF}"/>
              </a:ext>
            </a:extLst>
          </p:cNvPr>
          <p:cNvGraphicFramePr>
            <a:graphicFrameLocks noGrp="1"/>
          </p:cNvGraphicFramePr>
          <p:nvPr>
            <p:ph idx="1"/>
            <p:extLst>
              <p:ext uri="{D42A27DB-BD31-4B8C-83A1-F6EECF244321}">
                <p14:modId xmlns:p14="http://schemas.microsoft.com/office/powerpoint/2010/main" val="3831654318"/>
              </p:ext>
            </p:extLst>
          </p:nvPr>
        </p:nvGraphicFramePr>
        <p:xfrm>
          <a:off x="1868718" y="1288242"/>
          <a:ext cx="8451514" cy="49348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4313093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7D144591-E9E9-4209-8701-3BB48A917D5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979FB267-68A3-41DB-99E4-30DCEEDB63F5}"/>
              </a:ext>
            </a:extLst>
          </p:cNvPr>
          <p:cNvSpPr>
            <a:spLocks noGrp="1"/>
          </p:cNvSpPr>
          <p:nvPr>
            <p:ph type="title"/>
          </p:nvPr>
        </p:nvSpPr>
        <p:spPr>
          <a:xfrm>
            <a:off x="417855" y="225021"/>
            <a:ext cx="8889430" cy="838200"/>
          </a:xfrm>
        </p:spPr>
        <p:txBody>
          <a:bodyPr>
            <a:normAutofit fontScale="90000"/>
          </a:bodyPr>
          <a:lstStyle/>
          <a:p>
            <a:r>
              <a:rPr lang="en-US" sz="4000" dirty="0"/>
              <a:t>Management of Acute Complications</a:t>
            </a:r>
          </a:p>
        </p:txBody>
      </p:sp>
      <p:graphicFrame>
        <p:nvGraphicFramePr>
          <p:cNvPr id="3" name="Content Placeholder 2">
            <a:extLst>
              <a:ext uri="{FF2B5EF4-FFF2-40B4-BE49-F238E27FC236}">
                <a16:creationId xmlns:a16="http://schemas.microsoft.com/office/drawing/2014/main" id="{28DB396C-A6FB-462E-AA6D-7FAAE4E6DEAF}"/>
              </a:ext>
            </a:extLst>
          </p:cNvPr>
          <p:cNvGraphicFramePr>
            <a:graphicFrameLocks noGrp="1"/>
          </p:cNvGraphicFramePr>
          <p:nvPr>
            <p:ph idx="1"/>
            <p:extLst>
              <p:ext uri="{D42A27DB-BD31-4B8C-83A1-F6EECF244321}">
                <p14:modId xmlns:p14="http://schemas.microsoft.com/office/powerpoint/2010/main" val="960265170"/>
              </p:ext>
            </p:extLst>
          </p:nvPr>
        </p:nvGraphicFramePr>
        <p:xfrm>
          <a:off x="1273627" y="1063221"/>
          <a:ext cx="9666515" cy="49348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6619745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11" name="Rectangle 10"/>
          <p:cNvSpPr>
            <a:spLocks noGrp="1" noRot="1" noChangeAspect="1" noMove="1" noResize="1" noEditPoints="1" noAdjustHandles="1" noChangeArrowheads="1" noChangeShapeType="1" noTextEdit="1"/>
          </p:cNvSpPr>
          <p:nvPr/>
        </p:nvSpPr>
        <p:spPr>
          <a:xfrm>
            <a:off x="1524000" y="0"/>
            <a:ext cx="9144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nvGrpSpPr>
          <p:cNvPr id="8195" name="Group 12"/>
          <p:cNvGrpSpPr>
            <a:grpSpLocks noGrp="1" noUngrp="1" noRot="1" noChangeAspect="1" noMove="1" noResize="1"/>
          </p:cNvGrpSpPr>
          <p:nvPr/>
        </p:nvGrpSpPr>
        <p:grpSpPr bwMode="auto">
          <a:xfrm>
            <a:off x="3227389" y="0"/>
            <a:ext cx="5737225" cy="5727700"/>
            <a:chOff x="329184" y="1"/>
            <a:chExt cx="524256" cy="5728133"/>
          </a:xfrm>
        </p:grpSpPr>
        <p:cxnSp>
          <p:nvCxnSpPr>
            <p:cNvPr id="14" name="Straight Connector 13"/>
            <p:cNvCxnSpPr>
              <a:cxnSpLocks/>
            </p:cNvCxnSpPr>
            <p:nvPr/>
          </p:nvCxnSpPr>
          <p:spPr>
            <a:xfrm flipH="1">
              <a:off x="329184" y="5728134"/>
              <a:ext cx="523821" cy="0"/>
            </a:xfrm>
            <a:prstGeom prst="line">
              <a:avLst/>
            </a:prstGeom>
            <a:ln w="1524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329184" y="1"/>
              <a:ext cx="524256" cy="553285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grpSp>
      <p:sp>
        <p:nvSpPr>
          <p:cNvPr id="17" name="Rectangle 16"/>
          <p:cNvSpPr>
            <a:spLocks noGrp="1" noRot="1" noChangeAspect="1" noMove="1" noResize="1" noEditPoints="1" noAdjustHandles="1" noChangeArrowheads="1" noChangeShapeType="1" noTextEdit="1"/>
          </p:cNvSpPr>
          <p:nvPr/>
        </p:nvSpPr>
        <p:spPr>
          <a:xfrm>
            <a:off x="1971675" y="317501"/>
            <a:ext cx="8248650" cy="5326063"/>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6" name="TextBox 5"/>
          <p:cNvSpPr txBox="1"/>
          <p:nvPr/>
        </p:nvSpPr>
        <p:spPr>
          <a:xfrm>
            <a:off x="2319339" y="3941764"/>
            <a:ext cx="7553325" cy="928687"/>
          </a:xfrm>
          <a:prstGeom prst="rect">
            <a:avLst/>
          </a:prstGeom>
        </p:spPr>
        <p:txBody>
          <a:bodyPr anchor="b">
            <a:normAutofit fontScale="85000" lnSpcReduction="10000"/>
          </a:bodyPr>
          <a:lstStyle/>
          <a:p>
            <a:pPr algn="ctr">
              <a:lnSpc>
                <a:spcPct val="90000"/>
              </a:lnSpc>
              <a:spcAft>
                <a:spcPts val="600"/>
              </a:spcAft>
              <a:defRPr/>
            </a:pPr>
            <a:r>
              <a:rPr lang="en-US" sz="4500" dirty="0">
                <a:latin typeface="+mj-lt"/>
                <a:ea typeface="+mj-ea"/>
                <a:cs typeface="+mj-cs"/>
              </a:rPr>
              <a:t>Treat </a:t>
            </a:r>
            <a:r>
              <a:rPr lang="en-US" sz="4500" b="1" dirty="0">
                <a:solidFill>
                  <a:srgbClr val="FF0000"/>
                </a:solidFill>
                <a:latin typeface="+mj-lt"/>
                <a:ea typeface="+mj-ea"/>
                <a:cs typeface="+mj-cs"/>
              </a:rPr>
              <a:t>PAIN</a:t>
            </a:r>
            <a:r>
              <a:rPr lang="en-US" sz="4500" dirty="0">
                <a:latin typeface="+mj-lt"/>
                <a:ea typeface="+mj-ea"/>
                <a:cs typeface="+mj-cs"/>
              </a:rPr>
              <a:t> as a </a:t>
            </a:r>
            <a:r>
              <a:rPr lang="en-US" sz="4500" b="1" dirty="0">
                <a:solidFill>
                  <a:srgbClr val="FF0000"/>
                </a:solidFill>
                <a:latin typeface="+mj-lt"/>
                <a:ea typeface="+mj-ea"/>
                <a:cs typeface="+mj-cs"/>
              </a:rPr>
              <a:t>DISEASE</a:t>
            </a:r>
          </a:p>
        </p:txBody>
      </p:sp>
      <p:pic>
        <p:nvPicPr>
          <p:cNvPr id="8198" name="Picture 4" descr="A close up of a sign&#10;&#10;Description automatically generated"/>
          <p:cNvPicPr>
            <a:picLocks noChangeAspect="1"/>
          </p:cNvPicPr>
          <p:nvPr/>
        </p:nvPicPr>
        <p:blipFill>
          <a:blip r:embed="rId2" cstate="print">
            <a:extLst>
              <a:ext uri="{28A0092B-C50C-407E-A947-70E740481C1C}">
                <a14:useLocalDpi xmlns:a14="http://schemas.microsoft.com/office/drawing/2010/main" val="0"/>
              </a:ext>
            </a:extLst>
          </a:blip>
          <a:srcRect r="60973"/>
          <a:stretch>
            <a:fillRect/>
          </a:stretch>
        </p:blipFill>
        <p:spPr bwMode="auto">
          <a:xfrm>
            <a:off x="2197101" y="1123951"/>
            <a:ext cx="3802063" cy="2093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199" name="Picture 3" descr="A stop sign&#10;&#10;Description automatically generated"/>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845301" y="671514"/>
            <a:ext cx="2498725" cy="2998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168797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title"/>
          </p:nvPr>
        </p:nvSpPr>
        <p:spPr>
          <a:xfrm>
            <a:off x="1981200" y="223838"/>
            <a:ext cx="8229600" cy="1143000"/>
          </a:xfrm>
        </p:spPr>
        <p:txBody>
          <a:bodyPr/>
          <a:lstStyle/>
          <a:p>
            <a:pPr eaLnBrk="1" hangingPunct="1"/>
            <a:r>
              <a:rPr lang="en-US" altLang="en-US" sz="3600" b="1">
                <a:solidFill>
                  <a:srgbClr val="002060"/>
                </a:solidFill>
              </a:rPr>
              <a:t>Vaso-Occlusive Crisis (VOC)</a:t>
            </a:r>
          </a:p>
        </p:txBody>
      </p:sp>
      <p:graphicFrame>
        <p:nvGraphicFramePr>
          <p:cNvPr id="4" name="Diagram 3"/>
          <p:cNvGraphicFramePr/>
          <p:nvPr/>
        </p:nvGraphicFramePr>
        <p:xfrm>
          <a:off x="2677298" y="1631778"/>
          <a:ext cx="7162800" cy="485551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22044776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16" name="Rectangle 15"/>
          <p:cNvSpPr>
            <a:spLocks noGrp="1" noRot="1" noChangeAspect="1" noMove="1" noResize="1" noEditPoints="1" noAdjustHandles="1" noChangeArrowheads="1" noChangeShapeType="1" noTextEdit="1"/>
          </p:cNvSpPr>
          <p:nvPr/>
        </p:nvSpPr>
        <p:spPr>
          <a:xfrm>
            <a:off x="1524000" y="0"/>
            <a:ext cx="9144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8" name="Freeform: Shape 17"/>
          <p:cNvSpPr>
            <a:spLocks noGrp="1" noRot="1" noChangeAspect="1" noMove="1" noResize="1" noEditPoints="1" noAdjustHandles="1" noChangeArrowheads="1" noChangeShapeType="1" noTextEdit="1"/>
          </p:cNvSpPr>
          <p:nvPr/>
        </p:nvSpPr>
        <p:spPr>
          <a:xfrm>
            <a:off x="1765301" y="322264"/>
            <a:ext cx="8659813" cy="6213475"/>
          </a:xfrm>
          <a:custGeom>
            <a:avLst/>
            <a:gdLst>
              <a:gd name="connsiteX0" fmla="*/ 0 w 11546828"/>
              <a:gd name="connsiteY0" fmla="*/ 0 h 6214534"/>
              <a:gd name="connsiteX1" fmla="*/ 7965430 w 11546828"/>
              <a:gd name="connsiteY1" fmla="*/ 0 h 6214534"/>
              <a:gd name="connsiteX2" fmla="*/ 7965430 w 11546828"/>
              <a:gd name="connsiteY2" fmla="*/ 1786 h 6214534"/>
              <a:gd name="connsiteX3" fmla="*/ 11546828 w 11546828"/>
              <a:gd name="connsiteY3" fmla="*/ 1786 h 6214534"/>
              <a:gd name="connsiteX4" fmla="*/ 11546828 w 11546828"/>
              <a:gd name="connsiteY4" fmla="*/ 2866740 h 6214534"/>
              <a:gd name="connsiteX5" fmla="*/ 11225095 w 11546828"/>
              <a:gd name="connsiteY5" fmla="*/ 3179536 h 6214534"/>
              <a:gd name="connsiteX6" fmla="*/ 11225095 w 11546828"/>
              <a:gd name="connsiteY6" fmla="*/ 301542 h 6214534"/>
              <a:gd name="connsiteX7" fmla="*/ 320042 w 11546828"/>
              <a:gd name="connsiteY7" fmla="*/ 301542 h 6214534"/>
              <a:gd name="connsiteX8" fmla="*/ 320042 w 11546828"/>
              <a:gd name="connsiteY8" fmla="*/ 5909424 h 6214534"/>
              <a:gd name="connsiteX9" fmla="*/ 8417210 w 11546828"/>
              <a:gd name="connsiteY9" fmla="*/ 5909424 h 6214534"/>
              <a:gd name="connsiteX10" fmla="*/ 8103383 w 11546828"/>
              <a:gd name="connsiteY10" fmla="*/ 6214534 h 6214534"/>
              <a:gd name="connsiteX11" fmla="*/ 7222929 w 11546828"/>
              <a:gd name="connsiteY11" fmla="*/ 6214534 h 6214534"/>
              <a:gd name="connsiteX12" fmla="*/ 7222929 w 11546828"/>
              <a:gd name="connsiteY12" fmla="*/ 6212748 h 6214534"/>
              <a:gd name="connsiteX13" fmla="*/ 0 w 11546828"/>
              <a:gd name="connsiteY13" fmla="*/ 6212748 h 62145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546828" h="6214534">
                <a:moveTo>
                  <a:pt x="0" y="0"/>
                </a:moveTo>
                <a:lnTo>
                  <a:pt x="7965430" y="0"/>
                </a:lnTo>
                <a:lnTo>
                  <a:pt x="7965430" y="1786"/>
                </a:lnTo>
                <a:lnTo>
                  <a:pt x="11546828" y="1786"/>
                </a:lnTo>
                <a:lnTo>
                  <a:pt x="11546828" y="2866740"/>
                </a:lnTo>
                <a:lnTo>
                  <a:pt x="11225095" y="3179536"/>
                </a:lnTo>
                <a:lnTo>
                  <a:pt x="11225095" y="301542"/>
                </a:lnTo>
                <a:lnTo>
                  <a:pt x="320042" y="301542"/>
                </a:lnTo>
                <a:lnTo>
                  <a:pt x="320042" y="5909424"/>
                </a:lnTo>
                <a:lnTo>
                  <a:pt x="8417210" y="5909424"/>
                </a:lnTo>
                <a:lnTo>
                  <a:pt x="8103383" y="6214534"/>
                </a:lnTo>
                <a:lnTo>
                  <a:pt x="7222929" y="6214534"/>
                </a:lnTo>
                <a:lnTo>
                  <a:pt x="7222929" y="6212748"/>
                </a:lnTo>
                <a:lnTo>
                  <a:pt x="0" y="6212748"/>
                </a:lnTo>
                <a:close/>
              </a:path>
            </a:pathLst>
          </a:custGeom>
          <a:solidFill>
            <a:schemeClr val="tx1">
              <a:lumMod val="50000"/>
              <a:lumOff val="50000"/>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pic>
        <p:nvPicPr>
          <p:cNvPr id="7172" name="Picture 3" descr="A screenshot of a cell phone&#10;&#10;Description automatically generated"/>
          <p:cNvPicPr>
            <a:picLocks noChangeAspect="1"/>
          </p:cNvPicPr>
          <p:nvPr/>
        </p:nvPicPr>
        <p:blipFill>
          <a:blip r:embed="rId2">
            <a:extLst>
              <a:ext uri="{28A0092B-C50C-407E-A947-70E740481C1C}">
                <a14:useLocalDpi xmlns:a14="http://schemas.microsoft.com/office/drawing/2010/main" val="0"/>
              </a:ext>
            </a:extLst>
          </a:blip>
          <a:srcRect t="24989" b="18089"/>
          <a:stretch>
            <a:fillRect/>
          </a:stretch>
        </p:blipFill>
        <p:spPr bwMode="auto">
          <a:xfrm>
            <a:off x="2011364" y="3848101"/>
            <a:ext cx="7704137" cy="207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Right Triangle 19"/>
          <p:cNvSpPr>
            <a:spLocks noGrp="1" noRot="1" noChangeAspect="1" noMove="1" noResize="1" noEditPoints="1" noAdjustHandles="1" noChangeArrowheads="1" noChangeShapeType="1" noTextEdit="1"/>
          </p:cNvSpPr>
          <p:nvPr/>
        </p:nvSpPr>
        <p:spPr>
          <a:xfrm flipH="1">
            <a:off x="7956551" y="3335338"/>
            <a:ext cx="2468563" cy="3200400"/>
          </a:xfrm>
          <a:prstGeom prst="r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7174" name="Picture 1" descr="A picture containing flower&#10;&#10;Description automatically generated"/>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889500" y="673101"/>
            <a:ext cx="2413000" cy="2919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75" name="TextBox 6"/>
          <p:cNvSpPr txBox="1">
            <a:spLocks noChangeArrowheads="1"/>
          </p:cNvSpPr>
          <p:nvPr/>
        </p:nvSpPr>
        <p:spPr bwMode="auto">
          <a:xfrm>
            <a:off x="3306763" y="149226"/>
            <a:ext cx="5576887"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2800" b="1" dirty="0">
                <a:solidFill>
                  <a:srgbClr val="002060"/>
                </a:solidFill>
              </a:rPr>
              <a:t>SCD : Pain Measurement Tools</a:t>
            </a:r>
          </a:p>
        </p:txBody>
      </p:sp>
    </p:spTree>
    <p:extLst>
      <p:ext uri="{BB962C8B-B14F-4D97-AF65-F5344CB8AC3E}">
        <p14:creationId xmlns:p14="http://schemas.microsoft.com/office/powerpoint/2010/main" val="221201523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38" name="Rectangle 37"/>
          <p:cNvSpPr>
            <a:spLocks noGrp="1" noRot="1" noChangeAspect="1" noMove="1" noResize="1" noEditPoints="1" noAdjustHandles="1" noChangeArrowheads="1" noChangeShapeType="1" noTextEdit="1"/>
          </p:cNvSpPr>
          <p:nvPr/>
        </p:nvSpPr>
        <p:spPr>
          <a:xfrm>
            <a:off x="1524000" y="0"/>
            <a:ext cx="9144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8" name="TextBox 7"/>
          <p:cNvSpPr txBox="1"/>
          <p:nvPr/>
        </p:nvSpPr>
        <p:spPr>
          <a:xfrm>
            <a:off x="2119313" y="387351"/>
            <a:ext cx="7550150" cy="1298575"/>
          </a:xfrm>
          <a:prstGeom prst="rect">
            <a:avLst/>
          </a:prstGeom>
        </p:spPr>
        <p:txBody>
          <a:bodyPr anchor="b">
            <a:normAutofit/>
          </a:bodyPr>
          <a:lstStyle/>
          <a:p>
            <a:pPr>
              <a:lnSpc>
                <a:spcPct val="90000"/>
              </a:lnSpc>
              <a:spcAft>
                <a:spcPts val="600"/>
              </a:spcAft>
              <a:defRPr/>
            </a:pPr>
            <a:r>
              <a:rPr lang="en-US" sz="3900" b="1">
                <a:latin typeface="+mj-lt"/>
                <a:ea typeface="+mj-ea"/>
                <a:cs typeface="+mj-cs"/>
              </a:rPr>
              <a:t>SCD : </a:t>
            </a:r>
          </a:p>
          <a:p>
            <a:pPr>
              <a:lnSpc>
                <a:spcPct val="90000"/>
              </a:lnSpc>
              <a:spcAft>
                <a:spcPts val="600"/>
              </a:spcAft>
              <a:defRPr/>
            </a:pPr>
            <a:r>
              <a:rPr lang="en-US" sz="3900" b="1">
                <a:latin typeface="+mj-lt"/>
                <a:ea typeface="+mj-ea"/>
                <a:cs typeface="+mj-cs"/>
              </a:rPr>
              <a:t>Pain Management </a:t>
            </a:r>
          </a:p>
        </p:txBody>
      </p:sp>
      <p:sp>
        <p:nvSpPr>
          <p:cNvPr id="40" name="Rectangle 39"/>
          <p:cNvSpPr>
            <a:spLocks noGrp="1" noRot="1" noChangeAspect="1" noMove="1" noResize="1" noEditPoints="1" noAdjustHandles="1" noChangeArrowheads="1" noChangeShapeType="1" noTextEdit="1"/>
          </p:cNvSpPr>
          <p:nvPr/>
        </p:nvSpPr>
        <p:spPr>
          <a:xfrm flipH="1" flipV="1">
            <a:off x="1524000" y="1998664"/>
            <a:ext cx="8591550" cy="782637"/>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42" name="Rectangle 41"/>
          <p:cNvSpPr>
            <a:spLocks noGrp="1" noRot="1" noChangeAspect="1" noMove="1" noResize="1" noEditPoints="1" noAdjustHandles="1" noChangeArrowheads="1" noChangeShapeType="1" noTextEdit="1"/>
          </p:cNvSpPr>
          <p:nvPr/>
        </p:nvSpPr>
        <p:spPr>
          <a:xfrm>
            <a:off x="1524001" y="2203450"/>
            <a:ext cx="8537575" cy="4267200"/>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9222" name="TextBox 6"/>
          <p:cNvSpPr txBox="1">
            <a:spLocks noChangeArrowheads="1"/>
          </p:cNvSpPr>
          <p:nvPr/>
        </p:nvSpPr>
        <p:spPr bwMode="auto">
          <a:xfrm>
            <a:off x="1890714" y="2517775"/>
            <a:ext cx="5565775" cy="3638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marL="342900" indent="-2286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nSpc>
                <a:spcPct val="90000"/>
              </a:lnSpc>
              <a:spcBef>
                <a:spcPct val="0"/>
              </a:spcBef>
              <a:spcAft>
                <a:spcPts val="600"/>
              </a:spcAft>
            </a:pPr>
            <a:r>
              <a:rPr lang="en-US" altLang="en-US" sz="1800"/>
              <a:t>Pain management should begin as soon as there is aura of pain</a:t>
            </a:r>
          </a:p>
          <a:p>
            <a:pPr>
              <a:lnSpc>
                <a:spcPct val="90000"/>
              </a:lnSpc>
              <a:spcBef>
                <a:spcPct val="0"/>
              </a:spcBef>
              <a:spcAft>
                <a:spcPts val="600"/>
              </a:spcAft>
            </a:pPr>
            <a:r>
              <a:rPr lang="en-US" altLang="en-US" sz="1800" b="1">
                <a:solidFill>
                  <a:srgbClr val="FF0000"/>
                </a:solidFill>
              </a:rPr>
              <a:t>DO NOT </a:t>
            </a:r>
            <a:r>
              <a:rPr lang="en-US" altLang="en-US" sz="1800"/>
              <a:t>wait for the pain to being/worsen to commence treatment</a:t>
            </a:r>
          </a:p>
          <a:p>
            <a:pPr>
              <a:lnSpc>
                <a:spcPct val="90000"/>
              </a:lnSpc>
              <a:spcBef>
                <a:spcPct val="0"/>
              </a:spcBef>
              <a:spcAft>
                <a:spcPts val="600"/>
              </a:spcAft>
            </a:pPr>
            <a:r>
              <a:rPr lang="en-US" altLang="en-US" sz="1800"/>
              <a:t>Once analgesics started for pain, continue to </a:t>
            </a:r>
            <a:r>
              <a:rPr lang="en-US" altLang="en-US" sz="1800">
                <a:solidFill>
                  <a:srgbClr val="FF0000"/>
                </a:solidFill>
              </a:rPr>
              <a:t>ATLEAST </a:t>
            </a:r>
            <a:r>
              <a:rPr lang="en-US" altLang="en-US" sz="1800"/>
              <a:t>5 days irrespective of the pain</a:t>
            </a:r>
          </a:p>
          <a:p>
            <a:pPr>
              <a:lnSpc>
                <a:spcPct val="90000"/>
              </a:lnSpc>
              <a:spcBef>
                <a:spcPct val="0"/>
              </a:spcBef>
              <a:spcAft>
                <a:spcPts val="600"/>
              </a:spcAft>
            </a:pPr>
            <a:r>
              <a:rPr lang="en-US" altLang="en-US" sz="1800"/>
              <a:t>After 5 days of the analgesic course, begin tapering by reducing the dose – but keep dosing interval fixed (TDS)</a:t>
            </a:r>
          </a:p>
          <a:p>
            <a:pPr>
              <a:lnSpc>
                <a:spcPct val="90000"/>
              </a:lnSpc>
              <a:spcBef>
                <a:spcPct val="0"/>
              </a:spcBef>
              <a:spcAft>
                <a:spcPts val="600"/>
              </a:spcAft>
            </a:pPr>
            <a:r>
              <a:rPr lang="en-US" altLang="en-US" sz="1800" b="1">
                <a:solidFill>
                  <a:srgbClr val="FF0000"/>
                </a:solidFill>
              </a:rPr>
              <a:t>DO NOT </a:t>
            </a:r>
            <a:r>
              <a:rPr lang="en-US" altLang="en-US" sz="1800"/>
              <a:t>taper as TDS --- BD --- OD</a:t>
            </a:r>
          </a:p>
          <a:p>
            <a:pPr>
              <a:lnSpc>
                <a:spcPct val="90000"/>
              </a:lnSpc>
              <a:spcBef>
                <a:spcPct val="0"/>
              </a:spcBef>
              <a:spcAft>
                <a:spcPts val="600"/>
              </a:spcAft>
            </a:pPr>
            <a:r>
              <a:rPr lang="en-US" altLang="en-US" sz="1800"/>
              <a:t>If pain is refractory for 24 hours, add the 2</a:t>
            </a:r>
            <a:r>
              <a:rPr lang="en-US" altLang="en-US" sz="1800" baseline="30000"/>
              <a:t>nd</a:t>
            </a:r>
            <a:r>
              <a:rPr lang="en-US" altLang="en-US" sz="1800"/>
              <a:t> analgesic</a:t>
            </a:r>
          </a:p>
        </p:txBody>
      </p:sp>
      <p:pic>
        <p:nvPicPr>
          <p:cNvPr id="9223" name="Picture 8"/>
          <p:cNvPicPr>
            <a:picLocks noChangeAspect="1"/>
          </p:cNvPicPr>
          <p:nvPr/>
        </p:nvPicPr>
        <p:blipFill>
          <a:blip r:embed="rId2" cstate="print">
            <a:extLst>
              <a:ext uri="{28A0092B-C50C-407E-A947-70E740481C1C}">
                <a14:useLocalDpi xmlns:a14="http://schemas.microsoft.com/office/drawing/2010/main" val="0"/>
              </a:ext>
            </a:extLst>
          </a:blip>
          <a:srcRect t="2705" r="2" b="1138"/>
          <a:stretch>
            <a:fillRect/>
          </a:stretch>
        </p:blipFill>
        <p:spPr bwMode="auto">
          <a:xfrm>
            <a:off x="8780463" y="180975"/>
            <a:ext cx="1778000" cy="170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 name="Rectangle 43"/>
          <p:cNvSpPr>
            <a:spLocks noGrp="1" noRot="1" noChangeAspect="1" noMove="1" noResize="1" noEditPoints="1" noAdjustHandles="1" noChangeArrowheads="1" noChangeShapeType="1" noTextEdit="1"/>
          </p:cNvSpPr>
          <p:nvPr/>
        </p:nvSpPr>
        <p:spPr>
          <a:xfrm rot="5400000">
            <a:off x="9847263" y="2332038"/>
            <a:ext cx="781050" cy="1143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3" name="TextBox 2"/>
          <p:cNvSpPr txBox="1"/>
          <p:nvPr/>
        </p:nvSpPr>
        <p:spPr>
          <a:xfrm>
            <a:off x="8237261" y="4419235"/>
            <a:ext cx="1638300" cy="830997"/>
          </a:xfrm>
          <a:prstGeom prst="rect">
            <a:avLst/>
          </a:prstGeom>
          <a:solidFill>
            <a:schemeClr val="accent6">
              <a:lumMod val="20000"/>
              <a:lumOff val="80000"/>
            </a:schemeClr>
          </a:solidFill>
        </p:spPr>
        <p:txBody>
          <a:bodyPr>
            <a:spAutoFit/>
          </a:bodyPr>
          <a:lstStyle/>
          <a:p>
            <a:pPr algn="ctr">
              <a:spcAft>
                <a:spcPts val="600"/>
              </a:spcAft>
              <a:defRPr/>
            </a:pPr>
            <a:r>
              <a:rPr lang="en-US" sz="2400" strike="sngStrike" dirty="0">
                <a:solidFill>
                  <a:srgbClr val="002060"/>
                </a:solidFill>
              </a:rPr>
              <a:t>IV Fluids</a:t>
            </a:r>
          </a:p>
        </p:txBody>
      </p:sp>
      <p:sp>
        <p:nvSpPr>
          <p:cNvPr id="19" name="TextBox 18"/>
          <p:cNvSpPr txBox="1"/>
          <p:nvPr/>
        </p:nvSpPr>
        <p:spPr>
          <a:xfrm>
            <a:off x="8210550" y="2780070"/>
            <a:ext cx="1638300" cy="1200329"/>
          </a:xfrm>
          <a:prstGeom prst="rect">
            <a:avLst/>
          </a:prstGeom>
          <a:solidFill>
            <a:schemeClr val="accent6">
              <a:lumMod val="20000"/>
              <a:lumOff val="80000"/>
            </a:schemeClr>
          </a:solidFill>
        </p:spPr>
        <p:txBody>
          <a:bodyPr>
            <a:spAutoFit/>
          </a:bodyPr>
          <a:lstStyle/>
          <a:p>
            <a:pPr algn="ctr">
              <a:spcAft>
                <a:spcPts val="600"/>
              </a:spcAft>
              <a:defRPr/>
            </a:pPr>
            <a:r>
              <a:rPr lang="en-US" sz="2400" strike="sngStrike" dirty="0">
                <a:solidFill>
                  <a:srgbClr val="002060"/>
                </a:solidFill>
              </a:rPr>
              <a:t>Blood Transfusion</a:t>
            </a:r>
          </a:p>
        </p:txBody>
      </p:sp>
    </p:spTree>
    <p:extLst>
      <p:ext uri="{BB962C8B-B14F-4D97-AF65-F5344CB8AC3E}">
        <p14:creationId xmlns:p14="http://schemas.microsoft.com/office/powerpoint/2010/main" val="32304920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18F607-188E-D71E-3559-D907C953A37F}"/>
              </a:ext>
            </a:extLst>
          </p:cNvPr>
          <p:cNvSpPr>
            <a:spLocks noGrp="1"/>
          </p:cNvSpPr>
          <p:nvPr>
            <p:ph type="title"/>
          </p:nvPr>
        </p:nvSpPr>
        <p:spPr>
          <a:xfrm>
            <a:off x="162932" y="121037"/>
            <a:ext cx="10515600" cy="570941"/>
          </a:xfrm>
        </p:spPr>
        <p:txBody>
          <a:bodyPr>
            <a:normAutofit fontScale="90000"/>
          </a:bodyPr>
          <a:lstStyle/>
          <a:p>
            <a:r>
              <a:rPr lang="en-US" sz="3600" dirty="0"/>
              <a:t>Epidemiology </a:t>
            </a:r>
          </a:p>
        </p:txBody>
      </p:sp>
      <p:sp>
        <p:nvSpPr>
          <p:cNvPr id="3" name="Content Placeholder 2">
            <a:extLst>
              <a:ext uri="{FF2B5EF4-FFF2-40B4-BE49-F238E27FC236}">
                <a16:creationId xmlns:a16="http://schemas.microsoft.com/office/drawing/2014/main" id="{747FC5C8-743D-868B-428E-6397276C5777}"/>
              </a:ext>
            </a:extLst>
          </p:cNvPr>
          <p:cNvSpPr>
            <a:spLocks noGrp="1"/>
          </p:cNvSpPr>
          <p:nvPr>
            <p:ph idx="1"/>
          </p:nvPr>
        </p:nvSpPr>
        <p:spPr>
          <a:xfrm>
            <a:off x="619090" y="760862"/>
            <a:ext cx="6346725" cy="1858117"/>
          </a:xfrm>
        </p:spPr>
        <p:txBody>
          <a:bodyPr>
            <a:normAutofit fontScale="92500" lnSpcReduction="10000"/>
          </a:bodyPr>
          <a:lstStyle/>
          <a:p>
            <a:r>
              <a:rPr lang="en-US" sz="1600" b="1" dirty="0"/>
              <a:t>Worldwide</a:t>
            </a:r>
          </a:p>
          <a:p>
            <a:pPr lvl="1"/>
            <a:r>
              <a:rPr lang="en-US" sz="1600" dirty="0"/>
              <a:t>300,000-400,000 newborns with SCD per year</a:t>
            </a:r>
          </a:p>
          <a:p>
            <a:pPr lvl="1"/>
            <a:r>
              <a:rPr lang="en-US" sz="1600" dirty="0"/>
              <a:t>Majority in Sub-Saharan Africa</a:t>
            </a:r>
          </a:p>
          <a:p>
            <a:pPr lvl="1"/>
            <a:r>
              <a:rPr lang="en-US" sz="1600" dirty="0"/>
              <a:t>Mortality rate among newborns to 5-year-olds is 75%</a:t>
            </a:r>
          </a:p>
          <a:p>
            <a:r>
              <a:rPr lang="en-US" sz="1600" b="1" dirty="0"/>
              <a:t>India</a:t>
            </a:r>
            <a:r>
              <a:rPr lang="en-US" sz="1600" dirty="0"/>
              <a:t> is the second-largest hub of SCD after Africa </a:t>
            </a:r>
          </a:p>
          <a:p>
            <a:pPr lvl="1"/>
            <a:r>
              <a:rPr lang="en-US" sz="1600" dirty="0"/>
              <a:t>Overall prevalence of </a:t>
            </a:r>
            <a:r>
              <a:rPr lang="en-US" sz="1600" b="1" dirty="0"/>
              <a:t>4.3%</a:t>
            </a:r>
          </a:p>
        </p:txBody>
      </p:sp>
      <p:sp>
        <p:nvSpPr>
          <p:cNvPr id="5" name="TextBox 4">
            <a:extLst>
              <a:ext uri="{FF2B5EF4-FFF2-40B4-BE49-F238E27FC236}">
                <a16:creationId xmlns:a16="http://schemas.microsoft.com/office/drawing/2014/main" id="{A66CCD50-69FE-C76F-4626-8A1B6495D82C}"/>
              </a:ext>
            </a:extLst>
          </p:cNvPr>
          <p:cNvSpPr txBox="1"/>
          <p:nvPr/>
        </p:nvSpPr>
        <p:spPr>
          <a:xfrm>
            <a:off x="533399" y="6490742"/>
            <a:ext cx="7674429" cy="246221"/>
          </a:xfrm>
          <a:prstGeom prst="rect">
            <a:avLst/>
          </a:prstGeom>
          <a:noFill/>
        </p:spPr>
        <p:txBody>
          <a:bodyPr wrap="square">
            <a:spAutoFit/>
          </a:bodyPr>
          <a:lstStyle/>
          <a:p>
            <a:r>
              <a:rPr lang="en-US" sz="1000" dirty="0"/>
              <a:t>Bhalla N et al. Allogeneic hematopoietic stem cell transplantation to cure sickle cell disease: A review. Front Med (Lausanne), 2023</a:t>
            </a:r>
          </a:p>
        </p:txBody>
      </p:sp>
      <p:pic>
        <p:nvPicPr>
          <p:cNvPr id="6" name="Picture 2">
            <a:extLst>
              <a:ext uri="{FF2B5EF4-FFF2-40B4-BE49-F238E27FC236}">
                <a16:creationId xmlns:a16="http://schemas.microsoft.com/office/drawing/2014/main" id="{ED5BE08D-3D1D-2ECF-79A9-B9DF04036CA0}"/>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538518" y="2687863"/>
            <a:ext cx="5664189" cy="3371541"/>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EF17488F-5905-6867-A105-A2D108D1EBBA}"/>
              </a:ext>
            </a:extLst>
          </p:cNvPr>
          <p:cNvSpPr txBox="1"/>
          <p:nvPr/>
        </p:nvSpPr>
        <p:spPr>
          <a:xfrm>
            <a:off x="533399" y="6251528"/>
            <a:ext cx="5367300" cy="246221"/>
          </a:xfrm>
          <a:prstGeom prst="rect">
            <a:avLst/>
          </a:prstGeom>
          <a:noFill/>
        </p:spPr>
        <p:txBody>
          <a:bodyPr wrap="square">
            <a:spAutoFit/>
          </a:bodyPr>
          <a:lstStyle/>
          <a:p>
            <a:r>
              <a:rPr lang="en-US" sz="1000" dirty="0"/>
              <a:t>Kato, G., </a:t>
            </a:r>
            <a:r>
              <a:rPr lang="en-US" sz="1000" dirty="0" err="1"/>
              <a:t>Piel</a:t>
            </a:r>
            <a:r>
              <a:rPr lang="en-US" sz="1000" dirty="0"/>
              <a:t>, F., Reid, C. et al. Sickle cell disease. Nat Rev Dis Primers 4, 18010 (2018)</a:t>
            </a:r>
          </a:p>
        </p:txBody>
      </p:sp>
      <p:pic>
        <p:nvPicPr>
          <p:cNvPr id="8" name="Picture 2">
            <a:extLst>
              <a:ext uri="{FF2B5EF4-FFF2-40B4-BE49-F238E27FC236}">
                <a16:creationId xmlns:a16="http://schemas.microsoft.com/office/drawing/2014/main" id="{1E41FA8D-7FA5-3D27-27BC-E9714044CCDF}"/>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76238" y="942845"/>
            <a:ext cx="3682362" cy="424661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781086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a:xfrm>
            <a:off x="1816100" y="85725"/>
            <a:ext cx="8229600" cy="522288"/>
          </a:xfrm>
        </p:spPr>
        <p:txBody>
          <a:bodyPr/>
          <a:lstStyle/>
          <a:p>
            <a:pPr eaLnBrk="1" hangingPunct="1"/>
            <a:r>
              <a:rPr lang="en-IN" altLang="en-US" sz="2800" b="1">
                <a:solidFill>
                  <a:srgbClr val="002060"/>
                </a:solidFill>
              </a:rPr>
              <a:t>Management of Pain : SCD</a:t>
            </a:r>
          </a:p>
        </p:txBody>
      </p:sp>
      <p:pic>
        <p:nvPicPr>
          <p:cNvPr id="10243"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47826" y="608013"/>
            <a:ext cx="6176963" cy="6234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Oval 2"/>
          <p:cNvSpPr/>
          <p:nvPr/>
        </p:nvSpPr>
        <p:spPr>
          <a:xfrm>
            <a:off x="7824789" y="1304926"/>
            <a:ext cx="2719387" cy="785813"/>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IN" dirty="0">
                <a:solidFill>
                  <a:schemeClr val="tx1"/>
                </a:solidFill>
              </a:rPr>
              <a:t>PARACETAMOL</a:t>
            </a:r>
          </a:p>
        </p:txBody>
      </p:sp>
      <p:sp>
        <p:nvSpPr>
          <p:cNvPr id="5" name="Oval 4"/>
          <p:cNvSpPr/>
          <p:nvPr/>
        </p:nvSpPr>
        <p:spPr>
          <a:xfrm>
            <a:off x="7797801" y="2389189"/>
            <a:ext cx="2771775" cy="1616075"/>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IN" b="1" u="sng" dirty="0">
                <a:solidFill>
                  <a:schemeClr val="tx1"/>
                </a:solidFill>
              </a:rPr>
              <a:t>OTHER NSAID`S:</a:t>
            </a:r>
            <a:endParaRPr lang="en-IN" dirty="0">
              <a:solidFill>
                <a:schemeClr val="tx1"/>
              </a:solidFill>
            </a:endParaRPr>
          </a:p>
          <a:p>
            <a:pPr marL="285750" indent="-285750" algn="ctr">
              <a:buFont typeface="Arial" pitchFamily="34" charset="0"/>
              <a:buChar char="•"/>
              <a:defRPr/>
            </a:pPr>
            <a:r>
              <a:rPr lang="en-IN" dirty="0">
                <a:solidFill>
                  <a:schemeClr val="tx1"/>
                </a:solidFill>
              </a:rPr>
              <a:t>DICLOFENAC</a:t>
            </a:r>
          </a:p>
          <a:p>
            <a:pPr marL="285750" indent="-285750" algn="ctr">
              <a:buFont typeface="Arial" pitchFamily="34" charset="0"/>
              <a:buChar char="•"/>
              <a:defRPr/>
            </a:pPr>
            <a:r>
              <a:rPr lang="en-IN" dirty="0">
                <a:solidFill>
                  <a:schemeClr val="tx1"/>
                </a:solidFill>
              </a:rPr>
              <a:t>KETOROLAC</a:t>
            </a:r>
          </a:p>
          <a:p>
            <a:pPr marL="285750" indent="-285750" algn="ctr">
              <a:buFont typeface="Arial" pitchFamily="34" charset="0"/>
              <a:buChar char="•"/>
              <a:defRPr/>
            </a:pPr>
            <a:endParaRPr lang="en-IN" dirty="0">
              <a:solidFill>
                <a:schemeClr val="tx1"/>
              </a:solidFill>
            </a:endParaRPr>
          </a:p>
        </p:txBody>
      </p:sp>
      <p:sp>
        <p:nvSpPr>
          <p:cNvPr id="6" name="Rounded Rectangle 5"/>
          <p:cNvSpPr/>
          <p:nvPr/>
        </p:nvSpPr>
        <p:spPr>
          <a:xfrm>
            <a:off x="7759700" y="5356225"/>
            <a:ext cx="2870200" cy="139700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IN" b="1" u="sng" dirty="0">
                <a:solidFill>
                  <a:schemeClr val="tx1"/>
                </a:solidFill>
              </a:rPr>
              <a:t>CHRONIC NEUROPATHIC PAIN :</a:t>
            </a:r>
          </a:p>
          <a:p>
            <a:pPr marL="285750" indent="-285750" algn="ctr">
              <a:buFont typeface="Arial" pitchFamily="34" charset="0"/>
              <a:buChar char="•"/>
              <a:defRPr/>
            </a:pPr>
            <a:r>
              <a:rPr lang="en-IN" dirty="0">
                <a:solidFill>
                  <a:schemeClr val="tx1"/>
                </a:solidFill>
              </a:rPr>
              <a:t>GABAPENTINE</a:t>
            </a:r>
          </a:p>
          <a:p>
            <a:pPr marL="285750" indent="-285750" algn="ctr">
              <a:buFont typeface="Arial" pitchFamily="34" charset="0"/>
              <a:buChar char="•"/>
              <a:defRPr/>
            </a:pPr>
            <a:r>
              <a:rPr lang="en-IN" dirty="0">
                <a:solidFill>
                  <a:schemeClr val="tx1"/>
                </a:solidFill>
              </a:rPr>
              <a:t>PREGABALINE</a:t>
            </a:r>
          </a:p>
          <a:p>
            <a:pPr marL="285750" indent="-285750" algn="ctr">
              <a:buFont typeface="Arial" pitchFamily="34" charset="0"/>
              <a:buChar char="•"/>
              <a:defRPr/>
            </a:pPr>
            <a:r>
              <a:rPr lang="en-IN" dirty="0">
                <a:solidFill>
                  <a:schemeClr val="tx1"/>
                </a:solidFill>
              </a:rPr>
              <a:t>AMITRYPTILLINE</a:t>
            </a:r>
          </a:p>
        </p:txBody>
      </p:sp>
      <p:sp>
        <p:nvSpPr>
          <p:cNvPr id="7" name="Oval 6"/>
          <p:cNvSpPr/>
          <p:nvPr/>
        </p:nvSpPr>
        <p:spPr>
          <a:xfrm>
            <a:off x="7824789" y="4149725"/>
            <a:ext cx="2663825" cy="863600"/>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IN" b="1" u="sng" dirty="0">
                <a:solidFill>
                  <a:schemeClr val="tx1"/>
                </a:solidFill>
              </a:rPr>
              <a:t>OTHER OPIODS:</a:t>
            </a:r>
          </a:p>
          <a:p>
            <a:pPr algn="ctr">
              <a:defRPr/>
            </a:pPr>
            <a:r>
              <a:rPr lang="en-IN" dirty="0">
                <a:solidFill>
                  <a:schemeClr val="tx1"/>
                </a:solidFill>
              </a:rPr>
              <a:t>TRAMADOL</a:t>
            </a:r>
          </a:p>
        </p:txBody>
      </p:sp>
    </p:spTree>
    <p:extLst>
      <p:ext uri="{BB962C8B-B14F-4D97-AF65-F5344CB8AC3E}">
        <p14:creationId xmlns:p14="http://schemas.microsoft.com/office/powerpoint/2010/main" val="236283014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AB2B4D7F-2528-513F-DF0C-BE2F58A5EF20}"/>
              </a:ext>
            </a:extLst>
          </p:cNvPr>
          <p:cNvGraphicFramePr>
            <a:graphicFrameLocks noGrp="1"/>
          </p:cNvGraphicFramePr>
          <p:nvPr>
            <p:extLst>
              <p:ext uri="{D42A27DB-BD31-4B8C-83A1-F6EECF244321}">
                <p14:modId xmlns:p14="http://schemas.microsoft.com/office/powerpoint/2010/main" val="600636868"/>
              </p:ext>
            </p:extLst>
          </p:nvPr>
        </p:nvGraphicFramePr>
        <p:xfrm>
          <a:off x="510139" y="494615"/>
          <a:ext cx="11203807" cy="4013181"/>
        </p:xfrm>
        <a:graphic>
          <a:graphicData uri="http://schemas.openxmlformats.org/drawingml/2006/table">
            <a:tbl>
              <a:tblPr firstRow="1" firstCol="1" bandRow="1">
                <a:tableStyleId>{5C22544A-7EE6-4342-B048-85BDC9FD1C3A}</a:tableStyleId>
              </a:tblPr>
              <a:tblGrid>
                <a:gridCol w="2919375">
                  <a:extLst>
                    <a:ext uri="{9D8B030D-6E8A-4147-A177-3AD203B41FA5}">
                      <a16:colId xmlns:a16="http://schemas.microsoft.com/office/drawing/2014/main" val="3710643792"/>
                    </a:ext>
                  </a:extLst>
                </a:gridCol>
                <a:gridCol w="4142216">
                  <a:extLst>
                    <a:ext uri="{9D8B030D-6E8A-4147-A177-3AD203B41FA5}">
                      <a16:colId xmlns:a16="http://schemas.microsoft.com/office/drawing/2014/main" val="196613927"/>
                    </a:ext>
                  </a:extLst>
                </a:gridCol>
                <a:gridCol w="4142216">
                  <a:extLst>
                    <a:ext uri="{9D8B030D-6E8A-4147-A177-3AD203B41FA5}">
                      <a16:colId xmlns:a16="http://schemas.microsoft.com/office/drawing/2014/main" val="2255298713"/>
                    </a:ext>
                  </a:extLst>
                </a:gridCol>
              </a:tblGrid>
              <a:tr h="234553">
                <a:tc>
                  <a:txBody>
                    <a:bodyPr/>
                    <a:lstStyle/>
                    <a:p>
                      <a:pPr>
                        <a:lnSpc>
                          <a:spcPct val="200000"/>
                        </a:lnSpc>
                        <a:spcAft>
                          <a:spcPts val="800"/>
                        </a:spcAft>
                      </a:pPr>
                      <a:r>
                        <a:rPr lang="en-US" sz="900" kern="100" dirty="0">
                          <a:effectLst/>
                        </a:rPr>
                        <a:t>Physical examination </a:t>
                      </a:r>
                      <a:endParaRPr lang="en-IN" sz="9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628" marR="6628" marT="6628" marB="6628" anchor="ctr"/>
                </a:tc>
                <a:tc>
                  <a:txBody>
                    <a:bodyPr/>
                    <a:lstStyle/>
                    <a:p>
                      <a:pPr>
                        <a:lnSpc>
                          <a:spcPct val="200000"/>
                        </a:lnSpc>
                        <a:spcAft>
                          <a:spcPts val="800"/>
                        </a:spcAft>
                      </a:pPr>
                      <a:r>
                        <a:rPr lang="en-US" sz="900" kern="100">
                          <a:effectLst/>
                        </a:rPr>
                        <a:t>Age </a:t>
                      </a:r>
                      <a:endParaRPr lang="en-IN" sz="900" kern="100">
                        <a:effectLst/>
                        <a:latin typeface="Calibri" panose="020F0502020204030204" pitchFamily="34" charset="0"/>
                        <a:ea typeface="Calibri" panose="020F0502020204030204" pitchFamily="34" charset="0"/>
                        <a:cs typeface="Times New Roman" panose="02020603050405020304" pitchFamily="18" charset="0"/>
                      </a:endParaRPr>
                    </a:p>
                  </a:txBody>
                  <a:tcPr marL="6628" marR="6628" marT="6628" marB="6628" anchor="ctr"/>
                </a:tc>
                <a:tc>
                  <a:txBody>
                    <a:bodyPr/>
                    <a:lstStyle/>
                    <a:p>
                      <a:pPr>
                        <a:lnSpc>
                          <a:spcPct val="200000"/>
                        </a:lnSpc>
                        <a:spcAft>
                          <a:spcPts val="800"/>
                        </a:spcAft>
                      </a:pPr>
                      <a:r>
                        <a:rPr lang="en-US" sz="900" kern="100">
                          <a:effectLst/>
                        </a:rPr>
                        <a:t>Frequency </a:t>
                      </a:r>
                      <a:endParaRPr lang="en-IN" sz="900" kern="100">
                        <a:effectLst/>
                        <a:latin typeface="Calibri" panose="020F0502020204030204" pitchFamily="34" charset="0"/>
                        <a:ea typeface="Calibri" panose="020F0502020204030204" pitchFamily="34" charset="0"/>
                        <a:cs typeface="Times New Roman" panose="02020603050405020304" pitchFamily="18" charset="0"/>
                      </a:endParaRPr>
                    </a:p>
                  </a:txBody>
                  <a:tcPr marL="6628" marR="6628" marT="6628" marB="6628" anchor="ctr"/>
                </a:tc>
                <a:extLst>
                  <a:ext uri="{0D108BD9-81ED-4DB2-BD59-A6C34878D82A}">
                    <a16:rowId xmlns:a16="http://schemas.microsoft.com/office/drawing/2014/main" val="767893716"/>
                  </a:ext>
                </a:extLst>
              </a:tr>
              <a:tr h="370964">
                <a:tc rowSpan="2">
                  <a:txBody>
                    <a:bodyPr/>
                    <a:lstStyle/>
                    <a:p>
                      <a:pPr>
                        <a:lnSpc>
                          <a:spcPct val="200000"/>
                        </a:lnSpc>
                        <a:spcAft>
                          <a:spcPts val="800"/>
                        </a:spcAft>
                      </a:pPr>
                      <a:r>
                        <a:rPr lang="en-US" sz="900" kern="100" dirty="0">
                          <a:effectLst/>
                        </a:rPr>
                        <a:t>All systemic examination </a:t>
                      </a:r>
                      <a:endParaRPr lang="en-IN" sz="9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628" marR="6628" marT="6628" marB="6628" anchor="ctr"/>
                </a:tc>
                <a:tc>
                  <a:txBody>
                    <a:bodyPr/>
                    <a:lstStyle/>
                    <a:p>
                      <a:pPr>
                        <a:lnSpc>
                          <a:spcPct val="200000"/>
                        </a:lnSpc>
                        <a:spcAft>
                          <a:spcPts val="800"/>
                        </a:spcAft>
                      </a:pPr>
                      <a:r>
                        <a:rPr lang="en-US" sz="900" kern="100" dirty="0">
                          <a:effectLst/>
                        </a:rPr>
                        <a:t>0-24 months </a:t>
                      </a:r>
                      <a:endParaRPr lang="en-IN" sz="9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628" marR="6628" marT="6628" marB="6628" anchor="ctr"/>
                </a:tc>
                <a:tc>
                  <a:txBody>
                    <a:bodyPr/>
                    <a:lstStyle/>
                    <a:p>
                      <a:pPr>
                        <a:lnSpc>
                          <a:spcPct val="200000"/>
                        </a:lnSpc>
                        <a:spcAft>
                          <a:spcPts val="800"/>
                        </a:spcAft>
                      </a:pPr>
                      <a:r>
                        <a:rPr lang="en-US" sz="900" kern="100">
                          <a:effectLst/>
                        </a:rPr>
                        <a:t>Every month till 3 months if possible </a:t>
                      </a:r>
                      <a:endParaRPr lang="en-IN" sz="900" kern="100">
                        <a:effectLst/>
                        <a:latin typeface="Calibri" panose="020F0502020204030204" pitchFamily="34" charset="0"/>
                        <a:ea typeface="Calibri" panose="020F0502020204030204" pitchFamily="34" charset="0"/>
                        <a:cs typeface="Times New Roman" panose="02020603050405020304" pitchFamily="18" charset="0"/>
                      </a:endParaRPr>
                    </a:p>
                  </a:txBody>
                  <a:tcPr marL="6628" marR="6628" marT="6628" marB="6628" anchor="ctr"/>
                </a:tc>
                <a:extLst>
                  <a:ext uri="{0D108BD9-81ED-4DB2-BD59-A6C34878D82A}">
                    <a16:rowId xmlns:a16="http://schemas.microsoft.com/office/drawing/2014/main" val="411266352"/>
                  </a:ext>
                </a:extLst>
              </a:tr>
              <a:tr h="234553">
                <a:tc vMerge="1">
                  <a:txBody>
                    <a:bodyPr/>
                    <a:lstStyle/>
                    <a:p>
                      <a:endParaRPr lang="en-IN"/>
                    </a:p>
                  </a:txBody>
                  <a:tcPr/>
                </a:tc>
                <a:tc>
                  <a:txBody>
                    <a:bodyPr/>
                    <a:lstStyle/>
                    <a:p>
                      <a:pPr>
                        <a:lnSpc>
                          <a:spcPct val="200000"/>
                        </a:lnSpc>
                        <a:spcAft>
                          <a:spcPts val="800"/>
                        </a:spcAft>
                      </a:pPr>
                      <a:r>
                        <a:rPr lang="en-US" sz="900" kern="100" dirty="0">
                          <a:effectLst/>
                        </a:rPr>
                        <a:t>&gt;24 months </a:t>
                      </a:r>
                      <a:endParaRPr lang="en-IN" sz="9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628" marR="6628" marT="6628" marB="6628" anchor="ctr"/>
                </a:tc>
                <a:tc>
                  <a:txBody>
                    <a:bodyPr/>
                    <a:lstStyle/>
                    <a:p>
                      <a:pPr>
                        <a:lnSpc>
                          <a:spcPct val="200000"/>
                        </a:lnSpc>
                        <a:spcAft>
                          <a:spcPts val="800"/>
                        </a:spcAft>
                      </a:pPr>
                      <a:r>
                        <a:rPr lang="en-US" sz="900" kern="100">
                          <a:effectLst/>
                        </a:rPr>
                        <a:t>Every three months </a:t>
                      </a:r>
                      <a:endParaRPr lang="en-IN" sz="900" kern="100">
                        <a:effectLst/>
                        <a:latin typeface="Calibri" panose="020F0502020204030204" pitchFamily="34" charset="0"/>
                        <a:ea typeface="Calibri" panose="020F0502020204030204" pitchFamily="34" charset="0"/>
                        <a:cs typeface="Times New Roman" panose="02020603050405020304" pitchFamily="18" charset="0"/>
                      </a:endParaRPr>
                    </a:p>
                  </a:txBody>
                  <a:tcPr marL="6628" marR="6628" marT="6628" marB="6628" anchor="ctr"/>
                </a:tc>
                <a:extLst>
                  <a:ext uri="{0D108BD9-81ED-4DB2-BD59-A6C34878D82A}">
                    <a16:rowId xmlns:a16="http://schemas.microsoft.com/office/drawing/2014/main" val="2734087844"/>
                  </a:ext>
                </a:extLst>
              </a:tr>
              <a:tr h="234553">
                <a:tc gridSpan="3">
                  <a:txBody>
                    <a:bodyPr/>
                    <a:lstStyle/>
                    <a:p>
                      <a:pPr>
                        <a:lnSpc>
                          <a:spcPct val="200000"/>
                        </a:lnSpc>
                        <a:spcAft>
                          <a:spcPts val="800"/>
                        </a:spcAft>
                      </a:pPr>
                      <a:r>
                        <a:rPr lang="en-US" sz="900" kern="100" dirty="0">
                          <a:effectLst/>
                        </a:rPr>
                        <a:t>Laboratory tests </a:t>
                      </a:r>
                      <a:endParaRPr lang="en-IN" sz="9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628" marR="6628" marT="6628" marB="6628" anchor="ctr"/>
                </a:tc>
                <a:tc hMerge="1">
                  <a:txBody>
                    <a:bodyPr/>
                    <a:lstStyle/>
                    <a:p>
                      <a:endParaRPr lang="en-IN"/>
                    </a:p>
                  </a:txBody>
                  <a:tcPr/>
                </a:tc>
                <a:tc hMerge="1">
                  <a:txBody>
                    <a:bodyPr/>
                    <a:lstStyle/>
                    <a:p>
                      <a:endParaRPr lang="en-IN"/>
                    </a:p>
                  </a:txBody>
                  <a:tcPr/>
                </a:tc>
                <a:extLst>
                  <a:ext uri="{0D108BD9-81ED-4DB2-BD59-A6C34878D82A}">
                    <a16:rowId xmlns:a16="http://schemas.microsoft.com/office/drawing/2014/main" val="4130520094"/>
                  </a:ext>
                </a:extLst>
              </a:tr>
              <a:tr h="234553">
                <a:tc rowSpan="2">
                  <a:txBody>
                    <a:bodyPr/>
                    <a:lstStyle/>
                    <a:p>
                      <a:pPr>
                        <a:lnSpc>
                          <a:spcPct val="200000"/>
                        </a:lnSpc>
                        <a:spcAft>
                          <a:spcPts val="800"/>
                        </a:spcAft>
                      </a:pPr>
                      <a:r>
                        <a:rPr lang="en-US" sz="900" kern="100" dirty="0">
                          <a:effectLst/>
                        </a:rPr>
                        <a:t>CBC /Platelet/ reticulocyte </a:t>
                      </a:r>
                      <a:endParaRPr lang="en-IN" sz="9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628" marR="6628" marT="6628" marB="6628" anchor="ctr"/>
                </a:tc>
                <a:tc>
                  <a:txBody>
                    <a:bodyPr/>
                    <a:lstStyle/>
                    <a:p>
                      <a:pPr>
                        <a:lnSpc>
                          <a:spcPct val="200000"/>
                        </a:lnSpc>
                        <a:spcAft>
                          <a:spcPts val="800"/>
                        </a:spcAft>
                      </a:pPr>
                      <a:r>
                        <a:rPr lang="en-US" sz="900" kern="100" dirty="0">
                          <a:effectLst/>
                        </a:rPr>
                        <a:t>3-24 months </a:t>
                      </a:r>
                      <a:endParaRPr lang="en-IN" sz="9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628" marR="6628" marT="6628" marB="6628" anchor="ctr"/>
                </a:tc>
                <a:tc>
                  <a:txBody>
                    <a:bodyPr/>
                    <a:lstStyle/>
                    <a:p>
                      <a:pPr>
                        <a:lnSpc>
                          <a:spcPct val="200000"/>
                        </a:lnSpc>
                        <a:spcAft>
                          <a:spcPts val="800"/>
                        </a:spcAft>
                      </a:pPr>
                      <a:r>
                        <a:rPr lang="en-US" sz="900" kern="100">
                          <a:effectLst/>
                        </a:rPr>
                        <a:t>Every 3 months </a:t>
                      </a:r>
                      <a:endParaRPr lang="en-IN" sz="900" kern="100">
                        <a:effectLst/>
                        <a:latin typeface="Calibri" panose="020F0502020204030204" pitchFamily="34" charset="0"/>
                        <a:ea typeface="Calibri" panose="020F0502020204030204" pitchFamily="34" charset="0"/>
                        <a:cs typeface="Times New Roman" panose="02020603050405020304" pitchFamily="18" charset="0"/>
                      </a:endParaRPr>
                    </a:p>
                  </a:txBody>
                  <a:tcPr marL="6628" marR="6628" marT="6628" marB="6628" anchor="ctr"/>
                </a:tc>
                <a:extLst>
                  <a:ext uri="{0D108BD9-81ED-4DB2-BD59-A6C34878D82A}">
                    <a16:rowId xmlns:a16="http://schemas.microsoft.com/office/drawing/2014/main" val="3573061620"/>
                  </a:ext>
                </a:extLst>
              </a:tr>
              <a:tr h="486932">
                <a:tc vMerge="1">
                  <a:txBody>
                    <a:bodyPr/>
                    <a:lstStyle/>
                    <a:p>
                      <a:endParaRPr lang="en-IN"/>
                    </a:p>
                  </a:txBody>
                  <a:tcPr/>
                </a:tc>
                <a:tc>
                  <a:txBody>
                    <a:bodyPr/>
                    <a:lstStyle/>
                    <a:p>
                      <a:pPr>
                        <a:lnSpc>
                          <a:spcPct val="200000"/>
                        </a:lnSpc>
                        <a:spcAft>
                          <a:spcPts val="800"/>
                        </a:spcAft>
                      </a:pPr>
                      <a:r>
                        <a:rPr lang="en-US" sz="900" kern="100" dirty="0">
                          <a:effectLst/>
                        </a:rPr>
                        <a:t>&gt;24 months </a:t>
                      </a:r>
                      <a:endParaRPr lang="en-IN" sz="9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628" marR="6628" marT="6628" marB="6628" anchor="ctr"/>
                </a:tc>
                <a:tc>
                  <a:txBody>
                    <a:bodyPr/>
                    <a:lstStyle/>
                    <a:p>
                      <a:pPr>
                        <a:lnSpc>
                          <a:spcPct val="200000"/>
                        </a:lnSpc>
                        <a:spcAft>
                          <a:spcPts val="800"/>
                        </a:spcAft>
                      </a:pPr>
                      <a:r>
                        <a:rPr lang="en-US" sz="900" kern="100">
                          <a:effectLst/>
                        </a:rPr>
                        <a:t>Every 3 months</a:t>
                      </a:r>
                      <a:br>
                        <a:rPr lang="en-US" sz="900" kern="100">
                          <a:effectLst/>
                        </a:rPr>
                      </a:br>
                      <a:r>
                        <a:rPr lang="en-US" sz="900" kern="100">
                          <a:effectLst/>
                        </a:rPr>
                        <a:t>(Monthly if on Hydroxyurea) </a:t>
                      </a:r>
                      <a:endParaRPr lang="en-IN" sz="900" kern="100">
                        <a:effectLst/>
                        <a:latin typeface="Calibri" panose="020F0502020204030204" pitchFamily="34" charset="0"/>
                        <a:ea typeface="Calibri" panose="020F0502020204030204" pitchFamily="34" charset="0"/>
                        <a:cs typeface="Times New Roman" panose="02020603050405020304" pitchFamily="18" charset="0"/>
                      </a:endParaRPr>
                    </a:p>
                  </a:txBody>
                  <a:tcPr marL="6628" marR="6628" marT="6628" marB="6628" anchor="ctr"/>
                </a:tc>
                <a:extLst>
                  <a:ext uri="{0D108BD9-81ED-4DB2-BD59-A6C34878D82A}">
                    <a16:rowId xmlns:a16="http://schemas.microsoft.com/office/drawing/2014/main" val="1724286529"/>
                  </a:ext>
                </a:extLst>
              </a:tr>
              <a:tr h="565233">
                <a:tc>
                  <a:txBody>
                    <a:bodyPr/>
                    <a:lstStyle/>
                    <a:p>
                      <a:pPr>
                        <a:lnSpc>
                          <a:spcPct val="200000"/>
                        </a:lnSpc>
                        <a:spcAft>
                          <a:spcPts val="800"/>
                        </a:spcAft>
                      </a:pPr>
                      <a:r>
                        <a:rPr lang="en-US" sz="900" kern="100" dirty="0">
                          <a:effectLst/>
                        </a:rPr>
                        <a:t>Renal function tests </a:t>
                      </a:r>
                      <a:endParaRPr lang="en-IN" sz="9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628" marR="6628" marT="6628" marB="6628" anchor="ctr"/>
                </a:tc>
                <a:tc>
                  <a:txBody>
                    <a:bodyPr/>
                    <a:lstStyle/>
                    <a:p>
                      <a:pPr>
                        <a:lnSpc>
                          <a:spcPct val="200000"/>
                        </a:lnSpc>
                        <a:spcAft>
                          <a:spcPts val="800"/>
                        </a:spcAft>
                      </a:pPr>
                      <a:r>
                        <a:rPr lang="en-US" sz="900" kern="100" dirty="0">
                          <a:effectLst/>
                        </a:rPr>
                        <a:t>12months </a:t>
                      </a:r>
                      <a:endParaRPr lang="en-IN" sz="9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628" marR="6628" marT="6628" marB="6628" anchor="ctr"/>
                </a:tc>
                <a:tc>
                  <a:txBody>
                    <a:bodyPr/>
                    <a:lstStyle/>
                    <a:p>
                      <a:pPr>
                        <a:lnSpc>
                          <a:spcPct val="200000"/>
                        </a:lnSpc>
                        <a:spcAft>
                          <a:spcPts val="800"/>
                        </a:spcAft>
                      </a:pPr>
                      <a:r>
                        <a:rPr lang="en-US" sz="900" kern="100">
                          <a:effectLst/>
                        </a:rPr>
                        <a:t>Annually (every 3 months if on Hydroxyurea OR if micro- albuminuria present) </a:t>
                      </a:r>
                      <a:endParaRPr lang="en-IN" sz="900" kern="100">
                        <a:effectLst/>
                        <a:latin typeface="Calibri" panose="020F0502020204030204" pitchFamily="34" charset="0"/>
                        <a:ea typeface="Calibri" panose="020F0502020204030204" pitchFamily="34" charset="0"/>
                        <a:cs typeface="Times New Roman" panose="02020603050405020304" pitchFamily="18" charset="0"/>
                      </a:endParaRPr>
                    </a:p>
                  </a:txBody>
                  <a:tcPr marL="6628" marR="6628" marT="6628" marB="6628" anchor="ctr"/>
                </a:tc>
                <a:extLst>
                  <a:ext uri="{0D108BD9-81ED-4DB2-BD59-A6C34878D82A}">
                    <a16:rowId xmlns:a16="http://schemas.microsoft.com/office/drawing/2014/main" val="3958688115"/>
                  </a:ext>
                </a:extLst>
              </a:tr>
              <a:tr h="370964">
                <a:tc>
                  <a:txBody>
                    <a:bodyPr/>
                    <a:lstStyle/>
                    <a:p>
                      <a:pPr>
                        <a:lnSpc>
                          <a:spcPct val="200000"/>
                        </a:lnSpc>
                        <a:spcAft>
                          <a:spcPts val="800"/>
                        </a:spcAft>
                      </a:pPr>
                      <a:r>
                        <a:rPr lang="en-US" sz="900" kern="100" dirty="0">
                          <a:effectLst/>
                        </a:rPr>
                        <a:t>Liver function Tests </a:t>
                      </a:r>
                      <a:endParaRPr lang="en-IN" sz="9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628" marR="6628" marT="6628" marB="6628" anchor="ctr"/>
                </a:tc>
                <a:tc>
                  <a:txBody>
                    <a:bodyPr/>
                    <a:lstStyle/>
                    <a:p>
                      <a:pPr>
                        <a:lnSpc>
                          <a:spcPct val="200000"/>
                        </a:lnSpc>
                        <a:spcAft>
                          <a:spcPts val="800"/>
                        </a:spcAft>
                      </a:pPr>
                      <a:r>
                        <a:rPr lang="en-US" sz="900" kern="100" dirty="0">
                          <a:effectLst/>
                        </a:rPr>
                        <a:t>12 months </a:t>
                      </a:r>
                      <a:endParaRPr lang="en-IN" sz="9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628" marR="6628" marT="6628" marB="6628" anchor="ctr"/>
                </a:tc>
                <a:tc>
                  <a:txBody>
                    <a:bodyPr/>
                    <a:lstStyle/>
                    <a:p>
                      <a:pPr>
                        <a:lnSpc>
                          <a:spcPct val="200000"/>
                        </a:lnSpc>
                        <a:spcAft>
                          <a:spcPts val="800"/>
                        </a:spcAft>
                      </a:pPr>
                      <a:r>
                        <a:rPr lang="en-US" sz="900" kern="100" dirty="0">
                          <a:effectLst/>
                        </a:rPr>
                        <a:t>Annually (every 3 months if on Hydroxyurea) </a:t>
                      </a:r>
                      <a:endParaRPr lang="en-IN" sz="9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628" marR="6628" marT="6628" marB="6628" anchor="ctr"/>
                </a:tc>
                <a:extLst>
                  <a:ext uri="{0D108BD9-81ED-4DB2-BD59-A6C34878D82A}">
                    <a16:rowId xmlns:a16="http://schemas.microsoft.com/office/drawing/2014/main" val="814586839"/>
                  </a:ext>
                </a:extLst>
              </a:tr>
              <a:tr h="370964">
                <a:tc>
                  <a:txBody>
                    <a:bodyPr/>
                    <a:lstStyle/>
                    <a:p>
                      <a:pPr>
                        <a:lnSpc>
                          <a:spcPct val="200000"/>
                        </a:lnSpc>
                        <a:spcAft>
                          <a:spcPts val="800"/>
                        </a:spcAft>
                      </a:pPr>
                      <a:r>
                        <a:rPr lang="en-US" sz="1000" kern="100" dirty="0">
                          <a:effectLst/>
                        </a:rPr>
                        <a:t>Urine Analysis for micro-albuminuria </a:t>
                      </a:r>
                      <a:endParaRPr lang="en-IN"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628" marR="6628" marT="6628" marB="6628" anchor="ctr"/>
                </a:tc>
                <a:tc>
                  <a:txBody>
                    <a:bodyPr/>
                    <a:lstStyle/>
                    <a:p>
                      <a:pPr>
                        <a:lnSpc>
                          <a:spcPct val="200000"/>
                        </a:lnSpc>
                        <a:spcAft>
                          <a:spcPts val="800"/>
                        </a:spcAft>
                      </a:pPr>
                      <a:r>
                        <a:rPr lang="en-US" sz="1000" kern="100" dirty="0">
                          <a:effectLst/>
                        </a:rPr>
                        <a:t>&gt;6 years </a:t>
                      </a:r>
                      <a:endParaRPr lang="en-IN"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628" marR="6628" marT="6628" marB="6628" anchor="ctr"/>
                </a:tc>
                <a:tc>
                  <a:txBody>
                    <a:bodyPr/>
                    <a:lstStyle/>
                    <a:p>
                      <a:pPr>
                        <a:lnSpc>
                          <a:spcPct val="200000"/>
                        </a:lnSpc>
                        <a:spcAft>
                          <a:spcPts val="800"/>
                        </a:spcAft>
                      </a:pPr>
                      <a:r>
                        <a:rPr lang="en-US" sz="1000" kern="100" dirty="0">
                          <a:effectLst/>
                        </a:rPr>
                        <a:t>Annually If abnormal repeat every 3 months </a:t>
                      </a:r>
                      <a:endParaRPr lang="en-IN"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628" marR="6628" marT="6628" marB="6628" anchor="ctr"/>
                </a:tc>
                <a:extLst>
                  <a:ext uri="{0D108BD9-81ED-4DB2-BD59-A6C34878D82A}">
                    <a16:rowId xmlns:a16="http://schemas.microsoft.com/office/drawing/2014/main" val="432851517"/>
                  </a:ext>
                </a:extLst>
              </a:tr>
              <a:tr h="565233">
                <a:tc>
                  <a:txBody>
                    <a:bodyPr/>
                    <a:lstStyle/>
                    <a:p>
                      <a:pPr>
                        <a:lnSpc>
                          <a:spcPct val="200000"/>
                        </a:lnSpc>
                        <a:spcAft>
                          <a:spcPts val="800"/>
                        </a:spcAft>
                      </a:pPr>
                      <a:r>
                        <a:rPr lang="en-US" sz="1000" kern="100" dirty="0">
                          <a:effectLst/>
                        </a:rPr>
                        <a:t>Serum ferritin </a:t>
                      </a:r>
                      <a:endParaRPr lang="en-IN"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628" marR="6628" marT="6628" marB="6628" anchor="ctr"/>
                </a:tc>
                <a:tc>
                  <a:txBody>
                    <a:bodyPr/>
                    <a:lstStyle/>
                    <a:p>
                      <a:pPr>
                        <a:lnSpc>
                          <a:spcPct val="200000"/>
                        </a:lnSpc>
                        <a:spcAft>
                          <a:spcPts val="800"/>
                        </a:spcAft>
                      </a:pPr>
                      <a:r>
                        <a:rPr lang="en-US" sz="1000" kern="100" dirty="0">
                          <a:effectLst/>
                        </a:rPr>
                        <a:t>Iron deficiency and iron overload are both seen,</a:t>
                      </a:r>
                      <a:r>
                        <a:rPr lang="en-US" sz="1000" kern="100" baseline="0" dirty="0">
                          <a:effectLst/>
                        </a:rPr>
                        <a:t> </a:t>
                      </a:r>
                      <a:r>
                        <a:rPr lang="en-US" sz="1000" kern="100" dirty="0">
                          <a:effectLst/>
                        </a:rPr>
                        <a:t>if iron overload regular monitoring needed. </a:t>
                      </a:r>
                      <a:endParaRPr lang="en-IN"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628" marR="6628" marT="6628" marB="6628" anchor="ctr"/>
                </a:tc>
                <a:tc>
                  <a:txBody>
                    <a:bodyPr/>
                    <a:lstStyle/>
                    <a:p>
                      <a:pPr>
                        <a:lnSpc>
                          <a:spcPct val="200000"/>
                        </a:lnSpc>
                        <a:spcAft>
                          <a:spcPts val="800"/>
                        </a:spcAft>
                      </a:pPr>
                      <a:r>
                        <a:rPr lang="en-US" sz="1000" kern="100" dirty="0">
                          <a:effectLst/>
                        </a:rPr>
                        <a:t>Every 6 months for those on regular blood transfusions. </a:t>
                      </a:r>
                      <a:endParaRPr lang="en-IN" sz="10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6628" marR="6628" marT="6628" marB="6628" anchor="ctr"/>
                </a:tc>
                <a:extLst>
                  <a:ext uri="{0D108BD9-81ED-4DB2-BD59-A6C34878D82A}">
                    <a16:rowId xmlns:a16="http://schemas.microsoft.com/office/drawing/2014/main" val="4293774249"/>
                  </a:ext>
                </a:extLst>
              </a:tr>
            </a:tbl>
          </a:graphicData>
        </a:graphic>
      </p:graphicFrame>
      <p:graphicFrame>
        <p:nvGraphicFramePr>
          <p:cNvPr id="3" name="Table 2">
            <a:extLst>
              <a:ext uri="{FF2B5EF4-FFF2-40B4-BE49-F238E27FC236}">
                <a16:creationId xmlns:a16="http://schemas.microsoft.com/office/drawing/2014/main" id="{F12FC568-80FC-BDE0-380D-7C7BE467E8EF}"/>
              </a:ext>
            </a:extLst>
          </p:cNvPr>
          <p:cNvGraphicFramePr>
            <a:graphicFrameLocks noGrp="1"/>
          </p:cNvGraphicFramePr>
          <p:nvPr>
            <p:extLst>
              <p:ext uri="{D42A27DB-BD31-4B8C-83A1-F6EECF244321}">
                <p14:modId xmlns:p14="http://schemas.microsoft.com/office/powerpoint/2010/main" val="854546458"/>
              </p:ext>
            </p:extLst>
          </p:nvPr>
        </p:nvGraphicFramePr>
        <p:xfrm>
          <a:off x="510140" y="4280024"/>
          <a:ext cx="11203806" cy="2574290"/>
        </p:xfrm>
        <a:graphic>
          <a:graphicData uri="http://schemas.openxmlformats.org/drawingml/2006/table">
            <a:tbl>
              <a:tblPr firstRow="1" firstCol="1" bandRow="1">
                <a:tableStyleId>{5C22544A-7EE6-4342-B048-85BDC9FD1C3A}</a:tableStyleId>
              </a:tblPr>
              <a:tblGrid>
                <a:gridCol w="2928164">
                  <a:extLst>
                    <a:ext uri="{9D8B030D-6E8A-4147-A177-3AD203B41FA5}">
                      <a16:colId xmlns:a16="http://schemas.microsoft.com/office/drawing/2014/main" val="1295353569"/>
                    </a:ext>
                  </a:extLst>
                </a:gridCol>
                <a:gridCol w="1763773">
                  <a:extLst>
                    <a:ext uri="{9D8B030D-6E8A-4147-A177-3AD203B41FA5}">
                      <a16:colId xmlns:a16="http://schemas.microsoft.com/office/drawing/2014/main" val="325141057"/>
                    </a:ext>
                  </a:extLst>
                </a:gridCol>
                <a:gridCol w="6511869">
                  <a:extLst>
                    <a:ext uri="{9D8B030D-6E8A-4147-A177-3AD203B41FA5}">
                      <a16:colId xmlns:a16="http://schemas.microsoft.com/office/drawing/2014/main" val="2360864583"/>
                    </a:ext>
                  </a:extLst>
                </a:gridCol>
              </a:tblGrid>
              <a:tr h="163985">
                <a:tc gridSpan="3">
                  <a:txBody>
                    <a:bodyPr/>
                    <a:lstStyle/>
                    <a:p>
                      <a:pPr algn="l">
                        <a:lnSpc>
                          <a:spcPct val="200000"/>
                        </a:lnSpc>
                        <a:spcAft>
                          <a:spcPts val="800"/>
                        </a:spcAft>
                      </a:pPr>
                      <a:r>
                        <a:rPr lang="en-US" sz="1200" kern="100" dirty="0">
                          <a:effectLst/>
                        </a:rPr>
                        <a:t>Screening test </a:t>
                      </a:r>
                      <a:endParaRPr lang="en-IN" sz="11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9525" anchor="ctr"/>
                </a:tc>
                <a:tc hMerge="1">
                  <a:txBody>
                    <a:bodyPr/>
                    <a:lstStyle/>
                    <a:p>
                      <a:endParaRPr lang="en-IN"/>
                    </a:p>
                  </a:txBody>
                  <a:tcPr/>
                </a:tc>
                <a:tc hMerge="1">
                  <a:txBody>
                    <a:bodyPr/>
                    <a:lstStyle/>
                    <a:p>
                      <a:endParaRPr lang="en-IN"/>
                    </a:p>
                  </a:txBody>
                  <a:tcPr/>
                </a:tc>
                <a:extLst>
                  <a:ext uri="{0D108BD9-81ED-4DB2-BD59-A6C34878D82A}">
                    <a16:rowId xmlns:a16="http://schemas.microsoft.com/office/drawing/2014/main" val="323736920"/>
                  </a:ext>
                </a:extLst>
              </a:tr>
              <a:tr h="251512">
                <a:tc>
                  <a:txBody>
                    <a:bodyPr/>
                    <a:lstStyle/>
                    <a:p>
                      <a:pPr algn="l">
                        <a:lnSpc>
                          <a:spcPct val="200000"/>
                        </a:lnSpc>
                        <a:spcAft>
                          <a:spcPts val="800"/>
                        </a:spcAft>
                      </a:pPr>
                      <a:r>
                        <a:rPr lang="en-US" sz="900" kern="100" dirty="0">
                          <a:effectLst/>
                        </a:rPr>
                        <a:t>Physical examination </a:t>
                      </a:r>
                      <a:endParaRPr lang="en-IN" sz="9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9525" anchor="ctr"/>
                </a:tc>
                <a:tc>
                  <a:txBody>
                    <a:bodyPr/>
                    <a:lstStyle/>
                    <a:p>
                      <a:pPr algn="l">
                        <a:lnSpc>
                          <a:spcPct val="200000"/>
                        </a:lnSpc>
                        <a:spcAft>
                          <a:spcPts val="800"/>
                        </a:spcAft>
                      </a:pPr>
                      <a:r>
                        <a:rPr lang="en-US" sz="900" kern="100">
                          <a:effectLst/>
                        </a:rPr>
                        <a:t>Age </a:t>
                      </a:r>
                      <a:endParaRPr lang="en-IN" sz="900" kern="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9525" anchor="ctr"/>
                </a:tc>
                <a:tc>
                  <a:txBody>
                    <a:bodyPr/>
                    <a:lstStyle/>
                    <a:p>
                      <a:pPr algn="l">
                        <a:lnSpc>
                          <a:spcPct val="200000"/>
                        </a:lnSpc>
                        <a:spcAft>
                          <a:spcPts val="800"/>
                        </a:spcAft>
                      </a:pPr>
                      <a:r>
                        <a:rPr lang="en-US" sz="900" kern="100" dirty="0">
                          <a:effectLst/>
                        </a:rPr>
                        <a:t>Frequency </a:t>
                      </a:r>
                      <a:endParaRPr lang="en-IN" sz="9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9525" anchor="ctr"/>
                </a:tc>
                <a:extLst>
                  <a:ext uri="{0D108BD9-81ED-4DB2-BD59-A6C34878D82A}">
                    <a16:rowId xmlns:a16="http://schemas.microsoft.com/office/drawing/2014/main" val="1832475384"/>
                  </a:ext>
                </a:extLst>
              </a:tr>
              <a:tr h="526044">
                <a:tc>
                  <a:txBody>
                    <a:bodyPr/>
                    <a:lstStyle/>
                    <a:p>
                      <a:pPr algn="l">
                        <a:lnSpc>
                          <a:spcPct val="200000"/>
                        </a:lnSpc>
                        <a:spcAft>
                          <a:spcPts val="800"/>
                        </a:spcAft>
                      </a:pPr>
                      <a:r>
                        <a:rPr lang="en-US" sz="1200" kern="100" dirty="0">
                          <a:effectLst/>
                        </a:rPr>
                        <a:t>Transcranial Doppler </a:t>
                      </a:r>
                      <a:endParaRPr lang="en-IN" sz="11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9525" anchor="ctr"/>
                </a:tc>
                <a:tc>
                  <a:txBody>
                    <a:bodyPr/>
                    <a:lstStyle/>
                    <a:p>
                      <a:pPr algn="l">
                        <a:lnSpc>
                          <a:spcPct val="200000"/>
                        </a:lnSpc>
                        <a:spcAft>
                          <a:spcPts val="800"/>
                        </a:spcAft>
                      </a:pPr>
                      <a:r>
                        <a:rPr lang="en-US" sz="1200" kern="100" dirty="0">
                          <a:effectLst/>
                        </a:rPr>
                        <a:t>2-18 years </a:t>
                      </a:r>
                      <a:endParaRPr lang="en-IN" sz="11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9525" anchor="ctr"/>
                </a:tc>
                <a:tc>
                  <a:txBody>
                    <a:bodyPr/>
                    <a:lstStyle/>
                    <a:p>
                      <a:pPr algn="l">
                        <a:lnSpc>
                          <a:spcPct val="200000"/>
                        </a:lnSpc>
                        <a:spcAft>
                          <a:spcPts val="800"/>
                        </a:spcAft>
                      </a:pPr>
                      <a:r>
                        <a:rPr lang="en-US" sz="1200" kern="100" dirty="0">
                          <a:effectLst/>
                        </a:rPr>
                        <a:t>Annually, if borderline repeat every 4 months, if abnormal repeat after 2-4 weeks. Do MRI if abnormal. </a:t>
                      </a:r>
                      <a:endParaRPr lang="en-IN" sz="11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9525" anchor="ctr"/>
                </a:tc>
                <a:extLst>
                  <a:ext uri="{0D108BD9-81ED-4DB2-BD59-A6C34878D82A}">
                    <a16:rowId xmlns:a16="http://schemas.microsoft.com/office/drawing/2014/main" val="3454551988"/>
                  </a:ext>
                </a:extLst>
              </a:tr>
              <a:tr h="251512">
                <a:tc>
                  <a:txBody>
                    <a:bodyPr/>
                    <a:lstStyle/>
                    <a:p>
                      <a:pPr algn="l">
                        <a:lnSpc>
                          <a:spcPct val="200000"/>
                        </a:lnSpc>
                        <a:spcAft>
                          <a:spcPts val="800"/>
                        </a:spcAft>
                      </a:pPr>
                      <a:r>
                        <a:rPr lang="en-US" sz="900" kern="100" dirty="0">
                          <a:effectLst/>
                        </a:rPr>
                        <a:t>Pulmonary function tests </a:t>
                      </a:r>
                      <a:endParaRPr lang="en-IN" sz="9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9525" anchor="ctr"/>
                </a:tc>
                <a:tc>
                  <a:txBody>
                    <a:bodyPr/>
                    <a:lstStyle/>
                    <a:p>
                      <a:pPr algn="l">
                        <a:lnSpc>
                          <a:spcPct val="200000"/>
                        </a:lnSpc>
                        <a:spcAft>
                          <a:spcPts val="800"/>
                        </a:spcAft>
                      </a:pPr>
                      <a:r>
                        <a:rPr lang="en-US" sz="900" kern="100">
                          <a:effectLst/>
                        </a:rPr>
                        <a:t>&gt;6 years </a:t>
                      </a:r>
                      <a:endParaRPr lang="en-IN" sz="900" kern="10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9525" anchor="ctr"/>
                </a:tc>
                <a:tc>
                  <a:txBody>
                    <a:bodyPr/>
                    <a:lstStyle/>
                    <a:p>
                      <a:pPr algn="l">
                        <a:lnSpc>
                          <a:spcPct val="200000"/>
                        </a:lnSpc>
                        <a:spcAft>
                          <a:spcPts val="800"/>
                        </a:spcAft>
                      </a:pPr>
                      <a:r>
                        <a:rPr lang="en-US" sz="900" kern="100" dirty="0">
                          <a:effectLst/>
                        </a:rPr>
                        <a:t>Annually based on clinical course </a:t>
                      </a:r>
                      <a:endParaRPr lang="en-IN" sz="9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9525" anchor="ctr"/>
                </a:tc>
                <a:extLst>
                  <a:ext uri="{0D108BD9-81ED-4DB2-BD59-A6C34878D82A}">
                    <a16:rowId xmlns:a16="http://schemas.microsoft.com/office/drawing/2014/main" val="2518389469"/>
                  </a:ext>
                </a:extLst>
              </a:tr>
              <a:tr h="601206">
                <a:tc>
                  <a:txBody>
                    <a:bodyPr/>
                    <a:lstStyle/>
                    <a:p>
                      <a:pPr algn="l">
                        <a:lnSpc>
                          <a:spcPct val="200000"/>
                        </a:lnSpc>
                        <a:spcAft>
                          <a:spcPts val="800"/>
                        </a:spcAft>
                      </a:pPr>
                      <a:r>
                        <a:rPr lang="en-US" sz="1200" kern="100" dirty="0">
                          <a:effectLst/>
                        </a:rPr>
                        <a:t>Echocardiogram </a:t>
                      </a:r>
                    </a:p>
                    <a:p>
                      <a:pPr algn="l">
                        <a:lnSpc>
                          <a:spcPct val="200000"/>
                        </a:lnSpc>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USG</a:t>
                      </a:r>
                      <a:endParaRPr lang="en-IN" sz="11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9525" anchor="ctr"/>
                </a:tc>
                <a:tc>
                  <a:txBody>
                    <a:bodyPr/>
                    <a:lstStyle/>
                    <a:p>
                      <a:pPr algn="l">
                        <a:lnSpc>
                          <a:spcPct val="200000"/>
                        </a:lnSpc>
                        <a:spcAft>
                          <a:spcPts val="800"/>
                        </a:spcAft>
                      </a:pPr>
                      <a:r>
                        <a:rPr lang="en-US" sz="1200" kern="100" dirty="0">
                          <a:effectLst/>
                        </a:rPr>
                        <a:t>&gt;8 years</a:t>
                      </a:r>
                    </a:p>
                    <a:p>
                      <a:pPr algn="l">
                        <a:lnSpc>
                          <a:spcPct val="200000"/>
                        </a:lnSpc>
                        <a:spcAft>
                          <a:spcPts val="800"/>
                        </a:spcAft>
                      </a:pPr>
                      <a:endParaRPr lang="en-IN" sz="11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9525" anchor="ctr"/>
                </a:tc>
                <a:tc>
                  <a:txBody>
                    <a:bodyPr/>
                    <a:lstStyle/>
                    <a:p>
                      <a:pPr algn="l">
                        <a:lnSpc>
                          <a:spcPct val="200000"/>
                        </a:lnSpc>
                        <a:spcAft>
                          <a:spcPts val="800"/>
                        </a:spcAft>
                      </a:pPr>
                      <a:r>
                        <a:rPr lang="en-US" sz="1200" kern="100" dirty="0">
                          <a:effectLst/>
                        </a:rPr>
                        <a:t>Annually or depending on symptoms. </a:t>
                      </a:r>
                      <a:endParaRPr lang="en-IN" sz="1100" kern="100" dirty="0">
                        <a:effectLst/>
                        <a:latin typeface="Calibri" panose="020F0502020204030204" pitchFamily="34" charset="0"/>
                        <a:ea typeface="Calibri" panose="020F0502020204030204" pitchFamily="34" charset="0"/>
                        <a:cs typeface="Times New Roman" panose="02020603050405020304" pitchFamily="18" charset="0"/>
                      </a:endParaRPr>
                    </a:p>
                  </a:txBody>
                  <a:tcPr marL="9525" marR="9525" marT="9525" marB="9525" anchor="ctr"/>
                </a:tc>
                <a:extLst>
                  <a:ext uri="{0D108BD9-81ED-4DB2-BD59-A6C34878D82A}">
                    <a16:rowId xmlns:a16="http://schemas.microsoft.com/office/drawing/2014/main" val="3237218318"/>
                  </a:ext>
                </a:extLst>
              </a:tr>
            </a:tbl>
          </a:graphicData>
        </a:graphic>
      </p:graphicFrame>
      <p:sp>
        <p:nvSpPr>
          <p:cNvPr id="4" name="TextBox 3">
            <a:extLst>
              <a:ext uri="{FF2B5EF4-FFF2-40B4-BE49-F238E27FC236}">
                <a16:creationId xmlns:a16="http://schemas.microsoft.com/office/drawing/2014/main" id="{BC1536C3-3DA4-65FB-78F4-2E0D3BBEF59C}"/>
              </a:ext>
            </a:extLst>
          </p:cNvPr>
          <p:cNvSpPr txBox="1"/>
          <p:nvPr/>
        </p:nvSpPr>
        <p:spPr>
          <a:xfrm>
            <a:off x="2663268" y="21021"/>
            <a:ext cx="7458075" cy="646331"/>
          </a:xfrm>
          <a:prstGeom prst="rect">
            <a:avLst/>
          </a:prstGeom>
          <a:noFill/>
        </p:spPr>
        <p:txBody>
          <a:bodyPr wrap="square" rtlCol="0">
            <a:spAutoFit/>
          </a:bodyPr>
          <a:lstStyle/>
          <a:p>
            <a:r>
              <a:rPr lang="en-US" sz="1800" kern="100" dirty="0">
                <a:solidFill>
                  <a:srgbClr val="000000"/>
                </a:solidFill>
                <a:effectLst/>
                <a:latin typeface="Times New Roman" panose="02020603050405020304" pitchFamily="18" charset="0"/>
                <a:ea typeface="Calibri" panose="020F0502020204030204" pitchFamily="34" charset="0"/>
                <a:cs typeface="Times New Roman" panose="02020603050405020304" pitchFamily="18" charset="0"/>
              </a:rPr>
              <a:t>Ideal health maintenance for children with sickle cell disease </a:t>
            </a:r>
            <a:endParaRPr lang="en-IN" sz="1800" kern="100" dirty="0">
              <a:effectLst/>
              <a:latin typeface="Calibri" panose="020F0502020204030204" pitchFamily="34" charset="0"/>
              <a:ea typeface="Calibri" panose="020F0502020204030204" pitchFamily="34" charset="0"/>
              <a:cs typeface="Times New Roman" panose="02020603050405020304" pitchFamily="18" charset="0"/>
            </a:endParaRPr>
          </a:p>
          <a:p>
            <a:endParaRPr lang="en-IN" dirty="0"/>
          </a:p>
        </p:txBody>
      </p:sp>
      <p:cxnSp>
        <p:nvCxnSpPr>
          <p:cNvPr id="6" name="Straight Arrow Connector 5">
            <a:extLst>
              <a:ext uri="{FF2B5EF4-FFF2-40B4-BE49-F238E27FC236}">
                <a16:creationId xmlns:a16="http://schemas.microsoft.com/office/drawing/2014/main" id="{D38121D7-3F43-F9F7-3A40-A32F1F8A8322}"/>
              </a:ext>
            </a:extLst>
          </p:cNvPr>
          <p:cNvCxnSpPr/>
          <p:nvPr/>
        </p:nvCxnSpPr>
        <p:spPr>
          <a:xfrm flipV="1">
            <a:off x="100013" y="3543300"/>
            <a:ext cx="410126" cy="100013"/>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9" name="Straight Arrow Connector 8">
            <a:extLst>
              <a:ext uri="{FF2B5EF4-FFF2-40B4-BE49-F238E27FC236}">
                <a16:creationId xmlns:a16="http://schemas.microsoft.com/office/drawing/2014/main" id="{54BE639A-90C5-93DE-7EC4-CB813BECAFB6}"/>
              </a:ext>
            </a:extLst>
          </p:cNvPr>
          <p:cNvCxnSpPr/>
          <p:nvPr/>
        </p:nvCxnSpPr>
        <p:spPr>
          <a:xfrm flipV="1">
            <a:off x="62189" y="5283134"/>
            <a:ext cx="410126" cy="100013"/>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0" name="Straight Arrow Connector 9">
            <a:extLst>
              <a:ext uri="{FF2B5EF4-FFF2-40B4-BE49-F238E27FC236}">
                <a16:creationId xmlns:a16="http://schemas.microsoft.com/office/drawing/2014/main" id="{C906913C-BAD0-51CB-33CC-0F1F7A85A3D1}"/>
              </a:ext>
            </a:extLst>
          </p:cNvPr>
          <p:cNvCxnSpPr/>
          <p:nvPr/>
        </p:nvCxnSpPr>
        <p:spPr>
          <a:xfrm flipV="1">
            <a:off x="120166" y="6019858"/>
            <a:ext cx="410126" cy="100013"/>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cxnSp>
        <p:nvCxnSpPr>
          <p:cNvPr id="11" name="Straight Arrow Connector 10">
            <a:extLst>
              <a:ext uri="{FF2B5EF4-FFF2-40B4-BE49-F238E27FC236}">
                <a16:creationId xmlns:a16="http://schemas.microsoft.com/office/drawing/2014/main" id="{C29F6512-2590-42D2-3E56-1B0D48901CE3}"/>
              </a:ext>
            </a:extLst>
          </p:cNvPr>
          <p:cNvCxnSpPr/>
          <p:nvPr/>
        </p:nvCxnSpPr>
        <p:spPr>
          <a:xfrm flipV="1">
            <a:off x="100013" y="6529132"/>
            <a:ext cx="410126" cy="100013"/>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70381339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9FB267-68A3-41DB-99E4-30DCEEDB63F5}"/>
              </a:ext>
            </a:extLst>
          </p:cNvPr>
          <p:cNvSpPr>
            <a:spLocks noGrp="1"/>
          </p:cNvSpPr>
          <p:nvPr>
            <p:ph type="title"/>
          </p:nvPr>
        </p:nvSpPr>
        <p:spPr>
          <a:xfrm>
            <a:off x="838200" y="12613"/>
            <a:ext cx="10515600" cy="851545"/>
          </a:xfrm>
        </p:spPr>
        <p:txBody>
          <a:bodyPr>
            <a:normAutofit fontScale="90000"/>
          </a:bodyPr>
          <a:lstStyle/>
          <a:p>
            <a:r>
              <a:rPr lang="en-US" dirty="0"/>
              <a:t>Management of Chronic Complications</a:t>
            </a:r>
          </a:p>
        </p:txBody>
      </p:sp>
      <p:graphicFrame>
        <p:nvGraphicFramePr>
          <p:cNvPr id="3" name="Content Placeholder 2">
            <a:extLst>
              <a:ext uri="{FF2B5EF4-FFF2-40B4-BE49-F238E27FC236}">
                <a16:creationId xmlns:a16="http://schemas.microsoft.com/office/drawing/2014/main" id="{BA57C2B3-A361-4BCE-960C-F2B563EE1634}"/>
              </a:ext>
            </a:extLst>
          </p:cNvPr>
          <p:cNvGraphicFramePr>
            <a:graphicFrameLocks noGrp="1"/>
          </p:cNvGraphicFramePr>
          <p:nvPr>
            <p:ph idx="1"/>
          </p:nvPr>
        </p:nvGraphicFramePr>
        <p:xfrm>
          <a:off x="838200" y="743578"/>
          <a:ext cx="10604500" cy="52635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a:extLst>
              <a:ext uri="{FF2B5EF4-FFF2-40B4-BE49-F238E27FC236}">
                <a16:creationId xmlns:a16="http://schemas.microsoft.com/office/drawing/2014/main" id="{9C8E93AD-AA3D-4E69-8B57-4503AD28812D}"/>
              </a:ext>
            </a:extLst>
          </p:cNvPr>
          <p:cNvSpPr txBox="1"/>
          <p:nvPr/>
        </p:nvSpPr>
        <p:spPr>
          <a:xfrm>
            <a:off x="838201" y="5980597"/>
            <a:ext cx="10795782" cy="646331"/>
          </a:xfrm>
          <a:prstGeom prst="rect">
            <a:avLst/>
          </a:prstGeom>
          <a:noFill/>
        </p:spPr>
        <p:txBody>
          <a:bodyPr wrap="square" rtlCol="0">
            <a:spAutoFit/>
          </a:bodyPr>
          <a:lstStyle/>
          <a:p>
            <a:r>
              <a:rPr lang="en-US" sz="1200" dirty="0"/>
              <a:t>Brandow AB, et al. </a:t>
            </a:r>
            <a:r>
              <a:rPr lang="en-US" sz="1200" i="1" dirty="0"/>
              <a:t>Blood Adv</a:t>
            </a:r>
            <a:r>
              <a:rPr lang="en-US" sz="1200" dirty="0"/>
              <a:t>. 2020;4(12):2656-2701.   Zhao D, et al. </a:t>
            </a:r>
            <a:r>
              <a:rPr lang="en-US" sz="1200" i="1" dirty="0"/>
              <a:t>J Orthopaedic Transl</a:t>
            </a:r>
            <a:r>
              <a:rPr lang="en-US" sz="1200" dirty="0"/>
              <a:t>. 2020;21:100-110.</a:t>
            </a:r>
          </a:p>
          <a:p>
            <a:r>
              <a:rPr lang="en-US" sz="1200" dirty="0"/>
              <a:t>National Heart Lung and Blood Institute. Published 2014. https://www.nhlbi.nih.gov/sites/default/files/media/docs/sickle-cell-disease-report%20020816_0.pdf</a:t>
            </a:r>
          </a:p>
          <a:p>
            <a:r>
              <a:rPr lang="en-US" sz="1200" dirty="0"/>
              <a:t> Accessed February 9, 2021.   Liem RI, et al. </a:t>
            </a:r>
            <a:r>
              <a:rPr lang="en-US" sz="1200" i="1" dirty="0"/>
              <a:t>Blood Adv</a:t>
            </a:r>
            <a:r>
              <a:rPr lang="en-US" sz="1200" dirty="0"/>
              <a:t>. 2020;3(23):3867-3897.</a:t>
            </a:r>
          </a:p>
        </p:txBody>
      </p:sp>
      <p:sp>
        <p:nvSpPr>
          <p:cNvPr id="7" name="TextBox 6">
            <a:extLst>
              <a:ext uri="{FF2B5EF4-FFF2-40B4-BE49-F238E27FC236}">
                <a16:creationId xmlns:a16="http://schemas.microsoft.com/office/drawing/2014/main" id="{F4CABCA2-F190-428F-9353-2362F18C7A56}"/>
              </a:ext>
            </a:extLst>
          </p:cNvPr>
          <p:cNvSpPr txBox="1"/>
          <p:nvPr/>
        </p:nvSpPr>
        <p:spPr>
          <a:xfrm>
            <a:off x="4109119" y="5213394"/>
            <a:ext cx="3973761" cy="639604"/>
          </a:xfrm>
          <a:prstGeom prst="roundRect">
            <a:avLst>
              <a:gd name="adj" fmla="val 32246"/>
            </a:avLst>
          </a:prstGeom>
          <a:solidFill>
            <a:srgbClr val="FFFF00"/>
          </a:solidFill>
        </p:spPr>
        <p:txBody>
          <a:bodyPr wrap="square" rtlCol="0">
            <a:spAutoFit/>
          </a:bodyPr>
          <a:lstStyle/>
          <a:p>
            <a:pPr algn="ctr"/>
            <a:r>
              <a:rPr lang="en-US" sz="2800" b="1" dirty="0"/>
              <a:t>Prevention is critical</a:t>
            </a:r>
          </a:p>
        </p:txBody>
      </p:sp>
    </p:spTree>
    <p:extLst>
      <p:ext uri="{BB962C8B-B14F-4D97-AF65-F5344CB8AC3E}">
        <p14:creationId xmlns:p14="http://schemas.microsoft.com/office/powerpoint/2010/main" val="20285191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fill="hold" grpId="0" nodeType="clickEffect">
                                  <p:stCondLst>
                                    <p:cond delay="0"/>
                                  </p:stCondLst>
                                  <p:childTnLst>
                                    <p:animScale>
                                      <p:cBhvr>
                                        <p:cTn id="6" dur="2000" fill="hold"/>
                                        <p:tgtEl>
                                          <p:spTgt spid="7"/>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9FB267-68A3-41DB-99E4-30DCEEDB63F5}"/>
              </a:ext>
            </a:extLst>
          </p:cNvPr>
          <p:cNvSpPr>
            <a:spLocks noGrp="1"/>
          </p:cNvSpPr>
          <p:nvPr>
            <p:ph type="title"/>
          </p:nvPr>
        </p:nvSpPr>
        <p:spPr>
          <a:xfrm>
            <a:off x="838200" y="12613"/>
            <a:ext cx="10515600" cy="851545"/>
          </a:xfrm>
        </p:spPr>
        <p:txBody>
          <a:bodyPr>
            <a:normAutofit fontScale="90000"/>
          </a:bodyPr>
          <a:lstStyle/>
          <a:p>
            <a:r>
              <a:rPr lang="en-US" dirty="0"/>
              <a:t>Management of Chronic Complications (cont)</a:t>
            </a:r>
          </a:p>
        </p:txBody>
      </p:sp>
      <p:graphicFrame>
        <p:nvGraphicFramePr>
          <p:cNvPr id="3" name="Content Placeholder 2">
            <a:extLst>
              <a:ext uri="{FF2B5EF4-FFF2-40B4-BE49-F238E27FC236}">
                <a16:creationId xmlns:a16="http://schemas.microsoft.com/office/drawing/2014/main" id="{BA57C2B3-A361-4BCE-960C-F2B563EE1634}"/>
              </a:ext>
            </a:extLst>
          </p:cNvPr>
          <p:cNvGraphicFramePr>
            <a:graphicFrameLocks noGrp="1"/>
          </p:cNvGraphicFramePr>
          <p:nvPr>
            <p:ph idx="1"/>
          </p:nvPr>
        </p:nvGraphicFramePr>
        <p:xfrm>
          <a:off x="838200" y="743578"/>
          <a:ext cx="10604500" cy="52635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a:extLst>
              <a:ext uri="{FF2B5EF4-FFF2-40B4-BE49-F238E27FC236}">
                <a16:creationId xmlns:a16="http://schemas.microsoft.com/office/drawing/2014/main" id="{9C8E93AD-AA3D-4E69-8B57-4503AD28812D}"/>
              </a:ext>
            </a:extLst>
          </p:cNvPr>
          <p:cNvSpPr txBox="1"/>
          <p:nvPr/>
        </p:nvSpPr>
        <p:spPr>
          <a:xfrm>
            <a:off x="4115163" y="5980597"/>
            <a:ext cx="7518819" cy="830997"/>
          </a:xfrm>
          <a:prstGeom prst="rect">
            <a:avLst/>
          </a:prstGeom>
          <a:noFill/>
        </p:spPr>
        <p:txBody>
          <a:bodyPr wrap="square" rtlCol="0">
            <a:spAutoFit/>
          </a:bodyPr>
          <a:lstStyle/>
          <a:p>
            <a:r>
              <a:rPr lang="en-US" sz="1200" dirty="0">
                <a:solidFill>
                  <a:schemeClr val="bg1"/>
                </a:solidFill>
              </a:rPr>
              <a:t>Brandow AB, et al. </a:t>
            </a:r>
            <a:r>
              <a:rPr lang="en-US" sz="1200" i="1" dirty="0">
                <a:solidFill>
                  <a:schemeClr val="bg1"/>
                </a:solidFill>
              </a:rPr>
              <a:t>Blood Adv</a:t>
            </a:r>
            <a:r>
              <a:rPr lang="en-US" sz="1200" dirty="0">
                <a:solidFill>
                  <a:schemeClr val="bg1"/>
                </a:solidFill>
              </a:rPr>
              <a:t>. 2020;4(12):2656-2701.   Zhao D, et al. </a:t>
            </a:r>
            <a:r>
              <a:rPr lang="en-US" sz="1200" i="1" dirty="0">
                <a:solidFill>
                  <a:schemeClr val="bg1"/>
                </a:solidFill>
              </a:rPr>
              <a:t>J Orthopaedic Transl</a:t>
            </a:r>
            <a:r>
              <a:rPr lang="en-US" sz="1200" dirty="0">
                <a:solidFill>
                  <a:schemeClr val="bg1"/>
                </a:solidFill>
              </a:rPr>
              <a:t>. 2020;21:100-110.</a:t>
            </a:r>
          </a:p>
          <a:p>
            <a:r>
              <a:rPr lang="en-US" sz="1200" dirty="0">
                <a:solidFill>
                  <a:schemeClr val="bg1"/>
                </a:solidFill>
              </a:rPr>
              <a:t>National Heart Lung and Blood Institute. Published 2014. https://www.nhlbi.nih.gov/sites/default/files/media/docs/sickle-cell-disease-report%20020816_0.pdf</a:t>
            </a:r>
          </a:p>
          <a:p>
            <a:r>
              <a:rPr lang="en-US" sz="1200" dirty="0">
                <a:solidFill>
                  <a:schemeClr val="bg1"/>
                </a:solidFill>
              </a:rPr>
              <a:t> Accessed February 9, 2021.   Liem RI, et al. </a:t>
            </a:r>
            <a:r>
              <a:rPr lang="en-US" sz="1200" i="1" dirty="0">
                <a:solidFill>
                  <a:schemeClr val="bg1"/>
                </a:solidFill>
              </a:rPr>
              <a:t>Blood Adv</a:t>
            </a:r>
            <a:r>
              <a:rPr lang="en-US" sz="1200" dirty="0">
                <a:solidFill>
                  <a:schemeClr val="bg1"/>
                </a:solidFill>
              </a:rPr>
              <a:t>. 2020;3(23):3867-3897.</a:t>
            </a:r>
          </a:p>
        </p:txBody>
      </p:sp>
    </p:spTree>
    <p:extLst>
      <p:ext uri="{BB962C8B-B14F-4D97-AF65-F5344CB8AC3E}">
        <p14:creationId xmlns:p14="http://schemas.microsoft.com/office/powerpoint/2010/main" val="341735054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9FB267-68A3-41DB-99E4-30DCEEDB63F5}"/>
              </a:ext>
            </a:extLst>
          </p:cNvPr>
          <p:cNvSpPr>
            <a:spLocks noGrp="1"/>
          </p:cNvSpPr>
          <p:nvPr>
            <p:ph type="title"/>
          </p:nvPr>
        </p:nvSpPr>
        <p:spPr>
          <a:xfrm>
            <a:off x="838200" y="12613"/>
            <a:ext cx="10515600" cy="851545"/>
          </a:xfrm>
        </p:spPr>
        <p:txBody>
          <a:bodyPr>
            <a:normAutofit fontScale="90000"/>
          </a:bodyPr>
          <a:lstStyle/>
          <a:p>
            <a:r>
              <a:rPr lang="en-US" dirty="0"/>
              <a:t>Management of Chronic Complications (cont)</a:t>
            </a:r>
          </a:p>
        </p:txBody>
      </p:sp>
      <p:graphicFrame>
        <p:nvGraphicFramePr>
          <p:cNvPr id="3" name="Content Placeholder 2">
            <a:extLst>
              <a:ext uri="{FF2B5EF4-FFF2-40B4-BE49-F238E27FC236}">
                <a16:creationId xmlns:a16="http://schemas.microsoft.com/office/drawing/2014/main" id="{BA57C2B3-A361-4BCE-960C-F2B563EE1634}"/>
              </a:ext>
            </a:extLst>
          </p:cNvPr>
          <p:cNvGraphicFramePr>
            <a:graphicFrameLocks noGrp="1"/>
          </p:cNvGraphicFramePr>
          <p:nvPr>
            <p:ph idx="1"/>
          </p:nvPr>
        </p:nvGraphicFramePr>
        <p:xfrm>
          <a:off x="838200" y="743578"/>
          <a:ext cx="10604500" cy="52635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a:extLst>
              <a:ext uri="{FF2B5EF4-FFF2-40B4-BE49-F238E27FC236}">
                <a16:creationId xmlns:a16="http://schemas.microsoft.com/office/drawing/2014/main" id="{9C8E93AD-AA3D-4E69-8B57-4503AD28812D}"/>
              </a:ext>
            </a:extLst>
          </p:cNvPr>
          <p:cNvSpPr txBox="1"/>
          <p:nvPr/>
        </p:nvSpPr>
        <p:spPr>
          <a:xfrm>
            <a:off x="4115163" y="5980597"/>
            <a:ext cx="7518819" cy="830997"/>
          </a:xfrm>
          <a:prstGeom prst="rect">
            <a:avLst/>
          </a:prstGeom>
          <a:noFill/>
        </p:spPr>
        <p:txBody>
          <a:bodyPr wrap="square" rtlCol="0">
            <a:spAutoFit/>
          </a:bodyPr>
          <a:lstStyle/>
          <a:p>
            <a:r>
              <a:rPr lang="en-US" sz="1200" dirty="0">
                <a:solidFill>
                  <a:schemeClr val="bg1"/>
                </a:solidFill>
              </a:rPr>
              <a:t>Brandow AB, et al. </a:t>
            </a:r>
            <a:r>
              <a:rPr lang="en-US" sz="1200" i="1" dirty="0">
                <a:solidFill>
                  <a:schemeClr val="bg1"/>
                </a:solidFill>
              </a:rPr>
              <a:t>Blood Adv</a:t>
            </a:r>
            <a:r>
              <a:rPr lang="en-US" sz="1200" dirty="0">
                <a:solidFill>
                  <a:schemeClr val="bg1"/>
                </a:solidFill>
              </a:rPr>
              <a:t>. 2020;4(12):2656-2701.   Zhao D, et al. </a:t>
            </a:r>
            <a:r>
              <a:rPr lang="en-US" sz="1200" i="1" dirty="0">
                <a:solidFill>
                  <a:schemeClr val="bg1"/>
                </a:solidFill>
              </a:rPr>
              <a:t>J Orthopaedic Transl</a:t>
            </a:r>
            <a:r>
              <a:rPr lang="en-US" sz="1200" dirty="0">
                <a:solidFill>
                  <a:schemeClr val="bg1"/>
                </a:solidFill>
              </a:rPr>
              <a:t>. 2020;21:100-110.</a:t>
            </a:r>
          </a:p>
          <a:p>
            <a:r>
              <a:rPr lang="en-US" sz="1200" dirty="0">
                <a:solidFill>
                  <a:schemeClr val="bg1"/>
                </a:solidFill>
              </a:rPr>
              <a:t>National Heart Lung and Blood Institute. Published 2014. https://www.nhlbi.nih.gov/sites/default/files/media/docs/sickle-cell-disease-report%20020816_0.pdf</a:t>
            </a:r>
          </a:p>
          <a:p>
            <a:r>
              <a:rPr lang="en-US" sz="1200" dirty="0">
                <a:solidFill>
                  <a:schemeClr val="bg1"/>
                </a:solidFill>
              </a:rPr>
              <a:t> Accessed February 9, 2021.   Liem RI, et al. </a:t>
            </a:r>
            <a:r>
              <a:rPr lang="en-US" sz="1200" i="1" dirty="0">
                <a:solidFill>
                  <a:schemeClr val="bg1"/>
                </a:solidFill>
              </a:rPr>
              <a:t>Blood Adv</a:t>
            </a:r>
            <a:r>
              <a:rPr lang="en-US" sz="1200" dirty="0">
                <a:solidFill>
                  <a:schemeClr val="bg1"/>
                </a:solidFill>
              </a:rPr>
              <a:t>. 2020;3(23):3867-3897.</a:t>
            </a:r>
          </a:p>
        </p:txBody>
      </p:sp>
    </p:spTree>
    <p:extLst>
      <p:ext uri="{BB962C8B-B14F-4D97-AF65-F5344CB8AC3E}">
        <p14:creationId xmlns:p14="http://schemas.microsoft.com/office/powerpoint/2010/main" val="38791487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9FB267-68A3-41DB-99E4-30DCEEDB63F5}"/>
              </a:ext>
            </a:extLst>
          </p:cNvPr>
          <p:cNvSpPr>
            <a:spLocks noGrp="1"/>
          </p:cNvSpPr>
          <p:nvPr>
            <p:ph type="title"/>
          </p:nvPr>
        </p:nvSpPr>
        <p:spPr>
          <a:xfrm>
            <a:off x="838200" y="12613"/>
            <a:ext cx="10515600" cy="851545"/>
          </a:xfrm>
        </p:spPr>
        <p:txBody>
          <a:bodyPr>
            <a:normAutofit fontScale="90000"/>
          </a:bodyPr>
          <a:lstStyle/>
          <a:p>
            <a:r>
              <a:rPr lang="en-US" dirty="0"/>
              <a:t>Management of Chronic Complications (cont)</a:t>
            </a:r>
          </a:p>
        </p:txBody>
      </p:sp>
      <p:graphicFrame>
        <p:nvGraphicFramePr>
          <p:cNvPr id="3" name="Content Placeholder 2">
            <a:extLst>
              <a:ext uri="{FF2B5EF4-FFF2-40B4-BE49-F238E27FC236}">
                <a16:creationId xmlns:a16="http://schemas.microsoft.com/office/drawing/2014/main" id="{BA57C2B3-A361-4BCE-960C-F2B563EE1634}"/>
              </a:ext>
            </a:extLst>
          </p:cNvPr>
          <p:cNvGraphicFramePr>
            <a:graphicFrameLocks noGrp="1"/>
          </p:cNvGraphicFramePr>
          <p:nvPr>
            <p:ph idx="1"/>
          </p:nvPr>
        </p:nvGraphicFramePr>
        <p:xfrm>
          <a:off x="838200" y="743578"/>
          <a:ext cx="10604500" cy="52635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a:extLst>
              <a:ext uri="{FF2B5EF4-FFF2-40B4-BE49-F238E27FC236}">
                <a16:creationId xmlns:a16="http://schemas.microsoft.com/office/drawing/2014/main" id="{9C8E93AD-AA3D-4E69-8B57-4503AD28812D}"/>
              </a:ext>
            </a:extLst>
          </p:cNvPr>
          <p:cNvSpPr txBox="1"/>
          <p:nvPr/>
        </p:nvSpPr>
        <p:spPr>
          <a:xfrm>
            <a:off x="4115163" y="5980597"/>
            <a:ext cx="7518819" cy="830997"/>
          </a:xfrm>
          <a:prstGeom prst="rect">
            <a:avLst/>
          </a:prstGeom>
          <a:noFill/>
        </p:spPr>
        <p:txBody>
          <a:bodyPr wrap="square" rtlCol="0">
            <a:spAutoFit/>
          </a:bodyPr>
          <a:lstStyle/>
          <a:p>
            <a:r>
              <a:rPr lang="en-US" sz="1200" dirty="0">
                <a:solidFill>
                  <a:schemeClr val="bg1"/>
                </a:solidFill>
              </a:rPr>
              <a:t>Brandow AB, et al. </a:t>
            </a:r>
            <a:r>
              <a:rPr lang="en-US" sz="1200" i="1" dirty="0">
                <a:solidFill>
                  <a:schemeClr val="bg1"/>
                </a:solidFill>
              </a:rPr>
              <a:t>Blood Adv</a:t>
            </a:r>
            <a:r>
              <a:rPr lang="en-US" sz="1200" dirty="0">
                <a:solidFill>
                  <a:schemeClr val="bg1"/>
                </a:solidFill>
              </a:rPr>
              <a:t>. 2020;4(12):2656-2701.   Zhao D, et al. </a:t>
            </a:r>
            <a:r>
              <a:rPr lang="en-US" sz="1200" i="1" dirty="0">
                <a:solidFill>
                  <a:schemeClr val="bg1"/>
                </a:solidFill>
              </a:rPr>
              <a:t>J Orthopaedic Transl</a:t>
            </a:r>
            <a:r>
              <a:rPr lang="en-US" sz="1200" dirty="0">
                <a:solidFill>
                  <a:schemeClr val="bg1"/>
                </a:solidFill>
              </a:rPr>
              <a:t>. 2020;21:100-110.</a:t>
            </a:r>
          </a:p>
          <a:p>
            <a:r>
              <a:rPr lang="en-US" sz="1200" dirty="0">
                <a:solidFill>
                  <a:schemeClr val="bg1"/>
                </a:solidFill>
              </a:rPr>
              <a:t>National Heart Lung and Blood Institute. Published 2014. https://www.nhlbi.nih.gov/sites/default/files/media/docs/sickle-cell-disease-report%20020816_0.pdf</a:t>
            </a:r>
          </a:p>
          <a:p>
            <a:r>
              <a:rPr lang="en-US" sz="1200" dirty="0">
                <a:solidFill>
                  <a:schemeClr val="bg1"/>
                </a:solidFill>
              </a:rPr>
              <a:t> Accessed February 9, 2021.   Liem RI, et al. </a:t>
            </a:r>
            <a:r>
              <a:rPr lang="en-US" sz="1200" i="1" dirty="0">
                <a:solidFill>
                  <a:schemeClr val="bg1"/>
                </a:solidFill>
              </a:rPr>
              <a:t>Blood Adv</a:t>
            </a:r>
            <a:r>
              <a:rPr lang="en-US" sz="1200" dirty="0">
                <a:solidFill>
                  <a:schemeClr val="bg1"/>
                </a:solidFill>
              </a:rPr>
              <a:t>. 2020;3(23):3867-3897.</a:t>
            </a:r>
          </a:p>
        </p:txBody>
      </p:sp>
    </p:spTree>
    <p:extLst>
      <p:ext uri="{BB962C8B-B14F-4D97-AF65-F5344CB8AC3E}">
        <p14:creationId xmlns:p14="http://schemas.microsoft.com/office/powerpoint/2010/main" val="429054656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9FB267-68A3-41DB-99E4-30DCEEDB63F5}"/>
              </a:ext>
            </a:extLst>
          </p:cNvPr>
          <p:cNvSpPr>
            <a:spLocks noGrp="1"/>
          </p:cNvSpPr>
          <p:nvPr>
            <p:ph type="title"/>
          </p:nvPr>
        </p:nvSpPr>
        <p:spPr>
          <a:xfrm>
            <a:off x="838200" y="12613"/>
            <a:ext cx="10515600" cy="851545"/>
          </a:xfrm>
        </p:spPr>
        <p:txBody>
          <a:bodyPr>
            <a:normAutofit fontScale="90000"/>
          </a:bodyPr>
          <a:lstStyle/>
          <a:p>
            <a:r>
              <a:rPr lang="en-US" dirty="0"/>
              <a:t>Management of Chronic Complications (cont)</a:t>
            </a:r>
          </a:p>
        </p:txBody>
      </p:sp>
      <p:graphicFrame>
        <p:nvGraphicFramePr>
          <p:cNvPr id="3" name="Content Placeholder 2">
            <a:extLst>
              <a:ext uri="{FF2B5EF4-FFF2-40B4-BE49-F238E27FC236}">
                <a16:creationId xmlns:a16="http://schemas.microsoft.com/office/drawing/2014/main" id="{BA57C2B3-A361-4BCE-960C-F2B563EE1634}"/>
              </a:ext>
            </a:extLst>
          </p:cNvPr>
          <p:cNvGraphicFramePr>
            <a:graphicFrameLocks noGrp="1"/>
          </p:cNvGraphicFramePr>
          <p:nvPr>
            <p:ph idx="1"/>
          </p:nvPr>
        </p:nvGraphicFramePr>
        <p:xfrm>
          <a:off x="838200" y="743578"/>
          <a:ext cx="10604500" cy="52635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a:extLst>
              <a:ext uri="{FF2B5EF4-FFF2-40B4-BE49-F238E27FC236}">
                <a16:creationId xmlns:a16="http://schemas.microsoft.com/office/drawing/2014/main" id="{9C8E93AD-AA3D-4E69-8B57-4503AD28812D}"/>
              </a:ext>
            </a:extLst>
          </p:cNvPr>
          <p:cNvSpPr txBox="1"/>
          <p:nvPr/>
        </p:nvSpPr>
        <p:spPr>
          <a:xfrm>
            <a:off x="4115163" y="5980597"/>
            <a:ext cx="7518819" cy="830997"/>
          </a:xfrm>
          <a:prstGeom prst="rect">
            <a:avLst/>
          </a:prstGeom>
          <a:noFill/>
        </p:spPr>
        <p:txBody>
          <a:bodyPr wrap="square" rtlCol="0">
            <a:spAutoFit/>
          </a:bodyPr>
          <a:lstStyle/>
          <a:p>
            <a:r>
              <a:rPr lang="en-US" sz="1200" dirty="0">
                <a:solidFill>
                  <a:schemeClr val="bg1"/>
                </a:solidFill>
              </a:rPr>
              <a:t>Brandow AB, et al. </a:t>
            </a:r>
            <a:r>
              <a:rPr lang="en-US" sz="1200" i="1" dirty="0">
                <a:solidFill>
                  <a:schemeClr val="bg1"/>
                </a:solidFill>
              </a:rPr>
              <a:t>Blood Adv</a:t>
            </a:r>
            <a:r>
              <a:rPr lang="en-US" sz="1200" dirty="0">
                <a:solidFill>
                  <a:schemeClr val="bg1"/>
                </a:solidFill>
              </a:rPr>
              <a:t>. 2020;4(12):2656-2701.   Zhao D, et al. </a:t>
            </a:r>
            <a:r>
              <a:rPr lang="en-US" sz="1200" i="1" dirty="0">
                <a:solidFill>
                  <a:schemeClr val="bg1"/>
                </a:solidFill>
              </a:rPr>
              <a:t>J Orthopaedic Transl</a:t>
            </a:r>
            <a:r>
              <a:rPr lang="en-US" sz="1200" dirty="0">
                <a:solidFill>
                  <a:schemeClr val="bg1"/>
                </a:solidFill>
              </a:rPr>
              <a:t>. 2020;21:100-110.</a:t>
            </a:r>
          </a:p>
          <a:p>
            <a:r>
              <a:rPr lang="en-US" sz="1200" dirty="0">
                <a:solidFill>
                  <a:schemeClr val="bg1"/>
                </a:solidFill>
              </a:rPr>
              <a:t>National Heart Lung and Blood Institute. Published 2014. https://www.nhlbi.nih.gov/sites/default/files/media/docs/sickle-cell-disease-report%20020816_0.pdf</a:t>
            </a:r>
          </a:p>
          <a:p>
            <a:r>
              <a:rPr lang="en-US" sz="1200" dirty="0">
                <a:solidFill>
                  <a:schemeClr val="bg1"/>
                </a:solidFill>
              </a:rPr>
              <a:t> Accessed February 9, 2021.   Liem RI, et al. </a:t>
            </a:r>
            <a:r>
              <a:rPr lang="en-US" sz="1200" i="1" dirty="0">
                <a:solidFill>
                  <a:schemeClr val="bg1"/>
                </a:solidFill>
              </a:rPr>
              <a:t>Blood Adv</a:t>
            </a:r>
            <a:r>
              <a:rPr lang="en-US" sz="1200" dirty="0">
                <a:solidFill>
                  <a:schemeClr val="bg1"/>
                </a:solidFill>
              </a:rPr>
              <a:t>. 2020;3(23):3867-3897.</a:t>
            </a:r>
          </a:p>
        </p:txBody>
      </p:sp>
    </p:spTree>
    <p:extLst>
      <p:ext uri="{BB962C8B-B14F-4D97-AF65-F5344CB8AC3E}">
        <p14:creationId xmlns:p14="http://schemas.microsoft.com/office/powerpoint/2010/main" val="189847355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9FB267-68A3-41DB-99E4-30DCEEDB63F5}"/>
              </a:ext>
            </a:extLst>
          </p:cNvPr>
          <p:cNvSpPr>
            <a:spLocks noGrp="1"/>
          </p:cNvSpPr>
          <p:nvPr>
            <p:ph type="title"/>
          </p:nvPr>
        </p:nvSpPr>
        <p:spPr>
          <a:xfrm>
            <a:off x="838200" y="12613"/>
            <a:ext cx="10515600" cy="851545"/>
          </a:xfrm>
        </p:spPr>
        <p:txBody>
          <a:bodyPr>
            <a:normAutofit fontScale="90000"/>
          </a:bodyPr>
          <a:lstStyle/>
          <a:p>
            <a:r>
              <a:rPr lang="en-US" dirty="0"/>
              <a:t>Management of Chronic Complications (cont)</a:t>
            </a:r>
          </a:p>
        </p:txBody>
      </p:sp>
      <p:graphicFrame>
        <p:nvGraphicFramePr>
          <p:cNvPr id="3" name="Content Placeholder 2">
            <a:extLst>
              <a:ext uri="{FF2B5EF4-FFF2-40B4-BE49-F238E27FC236}">
                <a16:creationId xmlns:a16="http://schemas.microsoft.com/office/drawing/2014/main" id="{BA57C2B3-A361-4BCE-960C-F2B563EE1634}"/>
              </a:ext>
            </a:extLst>
          </p:cNvPr>
          <p:cNvGraphicFramePr>
            <a:graphicFrameLocks noGrp="1"/>
          </p:cNvGraphicFramePr>
          <p:nvPr>
            <p:ph idx="1"/>
            <p:extLst>
              <p:ext uri="{D42A27DB-BD31-4B8C-83A1-F6EECF244321}">
                <p14:modId xmlns:p14="http://schemas.microsoft.com/office/powerpoint/2010/main" val="1793988730"/>
              </p:ext>
            </p:extLst>
          </p:nvPr>
        </p:nvGraphicFramePr>
        <p:xfrm>
          <a:off x="838200" y="743578"/>
          <a:ext cx="10604500" cy="526352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a:extLst>
              <a:ext uri="{FF2B5EF4-FFF2-40B4-BE49-F238E27FC236}">
                <a16:creationId xmlns:a16="http://schemas.microsoft.com/office/drawing/2014/main" id="{9C8E93AD-AA3D-4E69-8B57-4503AD28812D}"/>
              </a:ext>
            </a:extLst>
          </p:cNvPr>
          <p:cNvSpPr txBox="1"/>
          <p:nvPr/>
        </p:nvSpPr>
        <p:spPr>
          <a:xfrm>
            <a:off x="4115163" y="5980597"/>
            <a:ext cx="7518819" cy="830997"/>
          </a:xfrm>
          <a:prstGeom prst="rect">
            <a:avLst/>
          </a:prstGeom>
          <a:noFill/>
        </p:spPr>
        <p:txBody>
          <a:bodyPr wrap="square" rtlCol="0">
            <a:spAutoFit/>
          </a:bodyPr>
          <a:lstStyle/>
          <a:p>
            <a:r>
              <a:rPr lang="en-US" sz="1200" dirty="0">
                <a:solidFill>
                  <a:schemeClr val="bg1"/>
                </a:solidFill>
              </a:rPr>
              <a:t>Brandow AB, et al. </a:t>
            </a:r>
            <a:r>
              <a:rPr lang="en-US" sz="1200" i="1" dirty="0">
                <a:solidFill>
                  <a:schemeClr val="bg1"/>
                </a:solidFill>
              </a:rPr>
              <a:t>Blood Adv</a:t>
            </a:r>
            <a:r>
              <a:rPr lang="en-US" sz="1200" dirty="0">
                <a:solidFill>
                  <a:schemeClr val="bg1"/>
                </a:solidFill>
              </a:rPr>
              <a:t>. 2020;4(12):2656-2701.   Zhao D, et al. </a:t>
            </a:r>
            <a:r>
              <a:rPr lang="en-US" sz="1200" i="1" dirty="0">
                <a:solidFill>
                  <a:schemeClr val="bg1"/>
                </a:solidFill>
              </a:rPr>
              <a:t>J Orthopaedic Transl</a:t>
            </a:r>
            <a:r>
              <a:rPr lang="en-US" sz="1200" dirty="0">
                <a:solidFill>
                  <a:schemeClr val="bg1"/>
                </a:solidFill>
              </a:rPr>
              <a:t>. 2020;21:100-110.</a:t>
            </a:r>
          </a:p>
          <a:p>
            <a:r>
              <a:rPr lang="en-US" sz="1200" dirty="0">
                <a:solidFill>
                  <a:schemeClr val="bg1"/>
                </a:solidFill>
              </a:rPr>
              <a:t>National Heart Lung and Blood Institute. Published 2014. https://www.nhlbi.nih.gov/sites/default/files/media/docs/sickle-cell-disease-report%20020816_0.pdf</a:t>
            </a:r>
          </a:p>
          <a:p>
            <a:r>
              <a:rPr lang="en-US" sz="1200" dirty="0">
                <a:solidFill>
                  <a:schemeClr val="bg1"/>
                </a:solidFill>
              </a:rPr>
              <a:t> Accessed February 9, 2021.   Liem RI, et al. </a:t>
            </a:r>
            <a:r>
              <a:rPr lang="en-US" sz="1200" i="1" dirty="0">
                <a:solidFill>
                  <a:schemeClr val="bg1"/>
                </a:solidFill>
              </a:rPr>
              <a:t>Blood Adv</a:t>
            </a:r>
            <a:r>
              <a:rPr lang="en-US" sz="1200" dirty="0">
                <a:solidFill>
                  <a:schemeClr val="bg1"/>
                </a:solidFill>
              </a:rPr>
              <a:t>. 2020;3(23):3867-3897.</a:t>
            </a:r>
          </a:p>
        </p:txBody>
      </p:sp>
      <p:sp>
        <p:nvSpPr>
          <p:cNvPr id="6" name="TextBox 5">
            <a:extLst>
              <a:ext uri="{FF2B5EF4-FFF2-40B4-BE49-F238E27FC236}">
                <a16:creationId xmlns:a16="http://schemas.microsoft.com/office/drawing/2014/main" id="{87955100-346B-454E-948B-9A5AB3B454B4}"/>
              </a:ext>
            </a:extLst>
          </p:cNvPr>
          <p:cNvSpPr txBox="1"/>
          <p:nvPr/>
        </p:nvSpPr>
        <p:spPr>
          <a:xfrm>
            <a:off x="1799302" y="5699323"/>
            <a:ext cx="7933422" cy="307777"/>
          </a:xfrm>
          <a:prstGeom prst="rect">
            <a:avLst/>
          </a:prstGeom>
          <a:noFill/>
        </p:spPr>
        <p:txBody>
          <a:bodyPr wrap="square" rtlCol="0">
            <a:spAutoFit/>
          </a:bodyPr>
          <a:lstStyle/>
          <a:p>
            <a:r>
              <a:rPr lang="en-US" sz="1400" dirty="0">
                <a:solidFill>
                  <a:schemeClr val="bg1"/>
                </a:solidFill>
              </a:rPr>
              <a:t>ACE-I, angiotensin converting enzyme inhibitor; ARB, angiotensin receptor blocker</a:t>
            </a:r>
          </a:p>
        </p:txBody>
      </p:sp>
    </p:spTree>
    <p:extLst>
      <p:ext uri="{BB962C8B-B14F-4D97-AF65-F5344CB8AC3E}">
        <p14:creationId xmlns:p14="http://schemas.microsoft.com/office/powerpoint/2010/main" val="313511581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8" name="Rectangle 7"/>
          <p:cNvSpPr>
            <a:spLocks noGrp="1" noRot="1" noChangeAspect="1" noMove="1" noResize="1" noEditPoints="1" noAdjustHandles="1" noChangeArrowheads="1" noChangeShapeType="1" noTextEdit="1"/>
          </p:cNvSpPr>
          <p:nvPr/>
        </p:nvSpPr>
        <p:spPr>
          <a:xfrm>
            <a:off x="1524000" y="0"/>
            <a:ext cx="9144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nvGrpSpPr>
          <p:cNvPr id="10" name="Group 9"/>
          <p:cNvGrpSpPr>
            <a:grpSpLocks noGrp="1" noUngrp="1" noRot="1" noChangeAspect="1" noMove="1" noResize="1"/>
          </p:cNvGrpSpPr>
          <p:nvPr/>
        </p:nvGrpSpPr>
        <p:grpSpPr>
          <a:xfrm rot="5400000">
            <a:off x="-963837" y="2732147"/>
            <a:ext cx="5860051" cy="395784"/>
            <a:chOff x="6081624" y="1998368"/>
            <a:chExt cx="5613457" cy="782175"/>
          </a:xfrm>
          <a:solidFill>
            <a:schemeClr val="accent4"/>
          </a:solidFill>
        </p:grpSpPr>
        <p:sp>
          <p:nvSpPr>
            <p:cNvPr id="11" name="Rectangle 10"/>
            <p:cNvSpPr/>
            <p:nvPr/>
          </p:nvSpPr>
          <p:spPr>
            <a:xfrm rot="5400000">
              <a:off x="11228040" y="2313027"/>
              <a:ext cx="781700" cy="15238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2" name="Rectangle 11"/>
            <p:cNvSpPr/>
            <p:nvPr/>
          </p:nvSpPr>
          <p:spPr>
            <a:xfrm flipH="1" flipV="1">
              <a:off x="6081624" y="1998844"/>
              <a:ext cx="5372968" cy="7816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sp>
        <p:nvSpPr>
          <p:cNvPr id="14" name="Rectangle 13"/>
          <p:cNvSpPr>
            <a:spLocks noGrp="1" noRot="1" noChangeAspect="1" noMove="1" noResize="1" noEditPoints="1" noAdjustHandles="1" noChangeArrowheads="1" noChangeShapeType="1" noTextEdit="1"/>
          </p:cNvSpPr>
          <p:nvPr/>
        </p:nvSpPr>
        <p:spPr>
          <a:xfrm>
            <a:off x="1958975" y="922339"/>
            <a:ext cx="8332788" cy="5462587"/>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2293" name="Title 1"/>
          <p:cNvSpPr>
            <a:spLocks noGrp="1"/>
          </p:cNvSpPr>
          <p:nvPr>
            <p:ph type="title"/>
          </p:nvPr>
        </p:nvSpPr>
        <p:spPr>
          <a:xfrm>
            <a:off x="2432050" y="804863"/>
            <a:ext cx="7386638" cy="887412"/>
          </a:xfrm>
        </p:spPr>
        <p:txBody>
          <a:bodyPr anchor="b"/>
          <a:lstStyle/>
          <a:p>
            <a:pPr eaLnBrk="1" hangingPunct="1"/>
            <a:r>
              <a:rPr lang="en-US" altLang="en-US" sz="4700">
                <a:solidFill>
                  <a:srgbClr val="002060"/>
                </a:solidFill>
              </a:rPr>
              <a:t>Indian Scenario</a:t>
            </a:r>
          </a:p>
        </p:txBody>
      </p:sp>
      <p:sp>
        <p:nvSpPr>
          <p:cNvPr id="12294" name="Content Placeholder 2"/>
          <p:cNvSpPr>
            <a:spLocks noGrp="1"/>
          </p:cNvSpPr>
          <p:nvPr>
            <p:ph idx="1"/>
          </p:nvPr>
        </p:nvSpPr>
        <p:spPr>
          <a:xfrm>
            <a:off x="2598739" y="1954213"/>
            <a:ext cx="7386637" cy="3905250"/>
          </a:xfrm>
        </p:spPr>
        <p:txBody>
          <a:bodyPr anchor="ctr">
            <a:normAutofit lnSpcReduction="10000"/>
          </a:bodyPr>
          <a:lstStyle/>
          <a:p>
            <a:pPr eaLnBrk="1" hangingPunct="1"/>
            <a:r>
              <a:rPr lang="en-US" altLang="en-US" sz="2400"/>
              <a:t>Baseline HbF in Indian children is 15-18</a:t>
            </a:r>
          </a:p>
          <a:p>
            <a:pPr eaLnBrk="1" hangingPunct="1"/>
            <a:r>
              <a:rPr lang="en-US" altLang="en-US" sz="2400"/>
              <a:t>Robust Indian Data supporting the use of 10-15 mg HU</a:t>
            </a:r>
          </a:p>
          <a:p>
            <a:pPr eaLnBrk="1" hangingPunct="1"/>
            <a:r>
              <a:rPr lang="en-US" altLang="en-US" sz="2400"/>
              <a:t>Primary outcome : Clinical &gt;&gt;&gt;Hematological </a:t>
            </a:r>
          </a:p>
          <a:p>
            <a:pPr eaLnBrk="1" hangingPunct="1"/>
            <a:r>
              <a:rPr lang="en-US" altLang="en-US" sz="2400"/>
              <a:t>Affordability</a:t>
            </a:r>
          </a:p>
          <a:p>
            <a:pPr eaLnBrk="1" hangingPunct="1"/>
            <a:r>
              <a:rPr lang="en-US" altLang="en-US" sz="2400"/>
              <a:t>Monitoring </a:t>
            </a:r>
          </a:p>
          <a:p>
            <a:pPr eaLnBrk="1" hangingPunct="1"/>
            <a:r>
              <a:rPr lang="en-US" altLang="en-US" sz="2400"/>
              <a:t>Follow up </a:t>
            </a:r>
          </a:p>
          <a:p>
            <a:pPr eaLnBrk="1" hangingPunct="1"/>
            <a:r>
              <a:rPr lang="en-US" altLang="en-US" sz="2400"/>
              <a:t>Compliance</a:t>
            </a:r>
          </a:p>
        </p:txBody>
      </p:sp>
    </p:spTree>
    <p:extLst>
      <p:ext uri="{BB962C8B-B14F-4D97-AF65-F5344CB8AC3E}">
        <p14:creationId xmlns:p14="http://schemas.microsoft.com/office/powerpoint/2010/main" val="278347702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Straight Arrow Connector 41"/>
          <p:cNvCxnSpPr>
            <a:cxnSpLocks/>
            <a:stCxn id="12" idx="2"/>
            <a:endCxn id="33" idx="0"/>
          </p:cNvCxnSpPr>
          <p:nvPr/>
        </p:nvCxnSpPr>
        <p:spPr>
          <a:xfrm>
            <a:off x="8650289" y="4157664"/>
            <a:ext cx="460375" cy="655637"/>
          </a:xfrm>
          <a:prstGeom prst="straightConnector1">
            <a:avLst/>
          </a:prstGeom>
          <a:ln w="31750">
            <a:solidFill>
              <a:srgbClr val="002060"/>
            </a:solidFill>
            <a:tailEnd type="triangle"/>
          </a:ln>
        </p:spPr>
        <p:style>
          <a:lnRef idx="2">
            <a:schemeClr val="accent1"/>
          </a:lnRef>
          <a:fillRef idx="0">
            <a:schemeClr val="accent1"/>
          </a:fillRef>
          <a:effectRef idx="1">
            <a:schemeClr val="accent1"/>
          </a:effectRef>
          <a:fontRef idx="minor">
            <a:schemeClr val="tx1"/>
          </a:fontRef>
        </p:style>
      </p:cxnSp>
      <p:sp>
        <p:nvSpPr>
          <p:cNvPr id="9" name="Rounded Rectangle 8"/>
          <p:cNvSpPr/>
          <p:nvPr/>
        </p:nvSpPr>
        <p:spPr>
          <a:xfrm>
            <a:off x="4586288" y="217488"/>
            <a:ext cx="3187700" cy="704850"/>
          </a:xfrm>
          <a:prstGeom prst="roundRect">
            <a:avLst/>
          </a:prstGeom>
          <a:solidFill>
            <a:schemeClr val="accent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anchor="ctr"/>
          <a:lstStyle/>
          <a:p>
            <a:pPr algn="ctr">
              <a:defRPr/>
            </a:pPr>
            <a:r>
              <a:rPr lang="en-US" sz="2400" b="1" dirty="0">
                <a:solidFill>
                  <a:srgbClr val="002060"/>
                </a:solidFill>
              </a:rPr>
              <a:t>Start HU 10 mg/kg</a:t>
            </a:r>
          </a:p>
        </p:txBody>
      </p:sp>
      <p:sp>
        <p:nvSpPr>
          <p:cNvPr id="10" name="Rounded Rectangle 9"/>
          <p:cNvSpPr/>
          <p:nvPr/>
        </p:nvSpPr>
        <p:spPr>
          <a:xfrm>
            <a:off x="4073526" y="1495425"/>
            <a:ext cx="4213225" cy="876300"/>
          </a:xfrm>
          <a:prstGeom prst="roundRect">
            <a:avLst/>
          </a:prstGeom>
          <a:solidFill>
            <a:schemeClr val="accent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anchor="ctr"/>
          <a:lstStyle/>
          <a:p>
            <a:pPr algn="ctr">
              <a:defRPr/>
            </a:pPr>
            <a:r>
              <a:rPr lang="en-US" sz="2400" b="1" dirty="0">
                <a:solidFill>
                  <a:srgbClr val="002060"/>
                </a:solidFill>
              </a:rPr>
              <a:t>Has there been a clinical improvement of &gt;25%?</a:t>
            </a:r>
          </a:p>
        </p:txBody>
      </p:sp>
      <p:sp>
        <p:nvSpPr>
          <p:cNvPr id="11" name="Rounded Rectangle 10"/>
          <p:cNvSpPr/>
          <p:nvPr/>
        </p:nvSpPr>
        <p:spPr>
          <a:xfrm>
            <a:off x="1746250" y="3217864"/>
            <a:ext cx="3213100" cy="1239837"/>
          </a:xfrm>
          <a:prstGeom prst="roundRect">
            <a:avLst/>
          </a:prstGeom>
          <a:solidFill>
            <a:schemeClr val="accent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anchor="ctr"/>
          <a:lstStyle/>
          <a:p>
            <a:pPr algn="ctr">
              <a:defRPr/>
            </a:pPr>
            <a:r>
              <a:rPr lang="en-US" b="1" dirty="0">
                <a:solidFill>
                  <a:srgbClr val="002060"/>
                </a:solidFill>
              </a:rPr>
              <a:t>Continue and stabilize the HU dose on 10 mg/kg</a:t>
            </a:r>
          </a:p>
          <a:p>
            <a:pPr algn="ctr">
              <a:defRPr/>
            </a:pPr>
            <a:r>
              <a:rPr lang="en-US" b="1" dirty="0">
                <a:solidFill>
                  <a:srgbClr val="002060"/>
                </a:solidFill>
              </a:rPr>
              <a:t>No Dose Escalation required</a:t>
            </a:r>
          </a:p>
        </p:txBody>
      </p:sp>
      <p:sp>
        <p:nvSpPr>
          <p:cNvPr id="12" name="Rounded Rectangle 11"/>
          <p:cNvSpPr/>
          <p:nvPr/>
        </p:nvSpPr>
        <p:spPr>
          <a:xfrm>
            <a:off x="6853238" y="3279775"/>
            <a:ext cx="3592512" cy="877888"/>
          </a:xfrm>
          <a:prstGeom prst="roundRect">
            <a:avLst/>
          </a:prstGeom>
          <a:solidFill>
            <a:schemeClr val="accent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anchor="ctr"/>
          <a:lstStyle/>
          <a:p>
            <a:pPr algn="ctr">
              <a:defRPr/>
            </a:pPr>
            <a:r>
              <a:rPr lang="en-US" sz="2400" b="1" dirty="0">
                <a:solidFill>
                  <a:srgbClr val="002060"/>
                </a:solidFill>
              </a:rPr>
              <a:t>Increase HU dose by </a:t>
            </a:r>
          </a:p>
          <a:p>
            <a:pPr algn="ctr">
              <a:defRPr/>
            </a:pPr>
            <a:r>
              <a:rPr lang="en-US" sz="2400" b="1" dirty="0">
                <a:solidFill>
                  <a:srgbClr val="002060"/>
                </a:solidFill>
              </a:rPr>
              <a:t>5 mg/kg </a:t>
            </a:r>
          </a:p>
        </p:txBody>
      </p:sp>
      <p:sp>
        <p:nvSpPr>
          <p:cNvPr id="14" name="Rounded Rectangle 13"/>
          <p:cNvSpPr/>
          <p:nvPr/>
        </p:nvSpPr>
        <p:spPr>
          <a:xfrm>
            <a:off x="4635501" y="4872038"/>
            <a:ext cx="2651125" cy="1003300"/>
          </a:xfrm>
          <a:prstGeom prst="roundRect">
            <a:avLst/>
          </a:prstGeom>
          <a:solidFill>
            <a:schemeClr val="accent1">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b="1" dirty="0">
                <a:solidFill>
                  <a:srgbClr val="002060"/>
                </a:solidFill>
              </a:rPr>
              <a:t>If &gt;25% clinical improvement – Stabilize the dose</a:t>
            </a:r>
          </a:p>
        </p:txBody>
      </p:sp>
      <p:cxnSp>
        <p:nvCxnSpPr>
          <p:cNvPr id="16" name="Straight Arrow Connector 15"/>
          <p:cNvCxnSpPr>
            <a:cxnSpLocks/>
          </p:cNvCxnSpPr>
          <p:nvPr/>
        </p:nvCxnSpPr>
        <p:spPr>
          <a:xfrm>
            <a:off x="6108700" y="911226"/>
            <a:ext cx="0" cy="555625"/>
          </a:xfrm>
          <a:prstGeom prst="straightConnector1">
            <a:avLst/>
          </a:prstGeom>
          <a:ln w="31750">
            <a:solidFill>
              <a:srgbClr val="002060"/>
            </a:solidFill>
            <a:tailEnd type="triangle"/>
          </a:ln>
        </p:spPr>
        <p:style>
          <a:lnRef idx="2">
            <a:schemeClr val="accent1"/>
          </a:lnRef>
          <a:fillRef idx="0">
            <a:schemeClr val="accent1"/>
          </a:fillRef>
          <a:effectRef idx="1">
            <a:schemeClr val="accent1"/>
          </a:effectRef>
          <a:fontRef idx="minor">
            <a:schemeClr val="tx1"/>
          </a:fontRef>
        </p:style>
      </p:cxnSp>
      <p:cxnSp>
        <p:nvCxnSpPr>
          <p:cNvPr id="17" name="Straight Arrow Connector 16"/>
          <p:cNvCxnSpPr>
            <a:cxnSpLocks/>
            <a:stCxn id="10" idx="2"/>
            <a:endCxn id="11" idx="0"/>
          </p:cNvCxnSpPr>
          <p:nvPr/>
        </p:nvCxnSpPr>
        <p:spPr>
          <a:xfrm flipH="1">
            <a:off x="3352800" y="2371725"/>
            <a:ext cx="2827338" cy="846138"/>
          </a:xfrm>
          <a:prstGeom prst="straightConnector1">
            <a:avLst/>
          </a:prstGeom>
          <a:ln w="31750">
            <a:solidFill>
              <a:srgbClr val="002060"/>
            </a:solidFill>
            <a:tailEnd type="triangle"/>
          </a:ln>
        </p:spPr>
        <p:style>
          <a:lnRef idx="2">
            <a:schemeClr val="accent1"/>
          </a:lnRef>
          <a:fillRef idx="0">
            <a:schemeClr val="accent1"/>
          </a:fillRef>
          <a:effectRef idx="1">
            <a:schemeClr val="accent1"/>
          </a:effectRef>
          <a:fontRef idx="minor">
            <a:schemeClr val="tx1"/>
          </a:fontRef>
        </p:style>
      </p:cxnSp>
      <p:cxnSp>
        <p:nvCxnSpPr>
          <p:cNvPr id="19" name="Straight Arrow Connector 18"/>
          <p:cNvCxnSpPr>
            <a:cxnSpLocks/>
            <a:stCxn id="10" idx="2"/>
            <a:endCxn id="12" idx="0"/>
          </p:cNvCxnSpPr>
          <p:nvPr/>
        </p:nvCxnSpPr>
        <p:spPr>
          <a:xfrm>
            <a:off x="6180138" y="2371725"/>
            <a:ext cx="2470150" cy="908050"/>
          </a:xfrm>
          <a:prstGeom prst="straightConnector1">
            <a:avLst/>
          </a:prstGeom>
          <a:ln w="31750">
            <a:solidFill>
              <a:srgbClr val="002060"/>
            </a:solidFill>
            <a:tailEnd type="triangle"/>
          </a:ln>
        </p:spPr>
        <p:style>
          <a:lnRef idx="2">
            <a:schemeClr val="accent1"/>
          </a:lnRef>
          <a:fillRef idx="0">
            <a:schemeClr val="accent1"/>
          </a:fillRef>
          <a:effectRef idx="1">
            <a:schemeClr val="accent1"/>
          </a:effectRef>
          <a:fontRef idx="minor">
            <a:schemeClr val="tx1"/>
          </a:fontRef>
        </p:style>
      </p:cxnSp>
      <p:cxnSp>
        <p:nvCxnSpPr>
          <p:cNvPr id="24" name="Straight Arrow Connector 23"/>
          <p:cNvCxnSpPr>
            <a:cxnSpLocks/>
            <a:stCxn id="12" idx="2"/>
            <a:endCxn id="14" idx="0"/>
          </p:cNvCxnSpPr>
          <p:nvPr/>
        </p:nvCxnSpPr>
        <p:spPr>
          <a:xfrm flipH="1">
            <a:off x="5961064" y="4157664"/>
            <a:ext cx="2689225" cy="714375"/>
          </a:xfrm>
          <a:prstGeom prst="straightConnector1">
            <a:avLst/>
          </a:prstGeom>
          <a:ln w="31750">
            <a:solidFill>
              <a:srgbClr val="002060"/>
            </a:solidFill>
            <a:tailEnd type="triangle"/>
          </a:ln>
        </p:spPr>
        <p:style>
          <a:lnRef idx="2">
            <a:schemeClr val="accent1"/>
          </a:lnRef>
          <a:fillRef idx="0">
            <a:schemeClr val="accent1"/>
          </a:fillRef>
          <a:effectRef idx="1">
            <a:schemeClr val="accent1"/>
          </a:effectRef>
          <a:fontRef idx="minor">
            <a:schemeClr val="tx1"/>
          </a:fontRef>
        </p:style>
      </p:cxnSp>
      <p:sp>
        <p:nvSpPr>
          <p:cNvPr id="26" name="Rounded Rectangle 25"/>
          <p:cNvSpPr/>
          <p:nvPr/>
        </p:nvSpPr>
        <p:spPr>
          <a:xfrm>
            <a:off x="6218238" y="1028701"/>
            <a:ext cx="2578100" cy="339725"/>
          </a:xfrm>
          <a:prstGeom prst="roundRect">
            <a:avLst/>
          </a:prstGeom>
          <a:solidFill>
            <a:schemeClr val="accent6">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anchor="ctr"/>
          <a:lstStyle/>
          <a:p>
            <a:pPr algn="ctr">
              <a:defRPr/>
            </a:pPr>
            <a:r>
              <a:rPr lang="en-US" sz="1400" dirty="0">
                <a:solidFill>
                  <a:srgbClr val="002060"/>
                </a:solidFill>
              </a:rPr>
              <a:t>Cumulative Assess after 4 months</a:t>
            </a:r>
          </a:p>
        </p:txBody>
      </p:sp>
      <p:sp>
        <p:nvSpPr>
          <p:cNvPr id="28" name="Rounded Rectangle 27"/>
          <p:cNvSpPr/>
          <p:nvPr/>
        </p:nvSpPr>
        <p:spPr>
          <a:xfrm>
            <a:off x="7361238" y="4075114"/>
            <a:ext cx="2578100" cy="339725"/>
          </a:xfrm>
          <a:prstGeom prst="roundRect">
            <a:avLst/>
          </a:prstGeom>
          <a:solidFill>
            <a:schemeClr val="accent6">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anchor="ctr"/>
          <a:lstStyle/>
          <a:p>
            <a:pPr algn="ctr">
              <a:defRPr/>
            </a:pPr>
            <a:r>
              <a:rPr lang="en-US" sz="1400" dirty="0">
                <a:solidFill>
                  <a:srgbClr val="002060"/>
                </a:solidFill>
              </a:rPr>
              <a:t>Cumulative Assess after 4 months</a:t>
            </a:r>
          </a:p>
        </p:txBody>
      </p:sp>
      <p:sp>
        <p:nvSpPr>
          <p:cNvPr id="33" name="Rounded Rectangle 32"/>
          <p:cNvSpPr/>
          <p:nvPr/>
        </p:nvSpPr>
        <p:spPr>
          <a:xfrm>
            <a:off x="7618413" y="4813301"/>
            <a:ext cx="2982912" cy="1827213"/>
          </a:xfrm>
          <a:prstGeom prst="roundRect">
            <a:avLst/>
          </a:prstGeom>
          <a:solidFill>
            <a:schemeClr val="accent1">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anchor="ctr"/>
          <a:lstStyle/>
          <a:p>
            <a:pPr algn="ctr">
              <a:defRPr/>
            </a:pPr>
            <a:r>
              <a:rPr lang="en-US" sz="1600" b="1" dirty="0">
                <a:solidFill>
                  <a:srgbClr val="002060"/>
                </a:solidFill>
              </a:rPr>
              <a:t>Escalate by 5 mg/kg every 4 months till the dose of 25 mg/kg is reached </a:t>
            </a:r>
          </a:p>
          <a:p>
            <a:pPr algn="ctr">
              <a:defRPr/>
            </a:pPr>
            <a:r>
              <a:rPr lang="en-US" sz="1600" b="1" dirty="0">
                <a:solidFill>
                  <a:srgbClr val="FF0000"/>
                </a:solidFill>
              </a:rPr>
              <a:t>OR</a:t>
            </a:r>
          </a:p>
          <a:p>
            <a:pPr algn="ctr">
              <a:defRPr/>
            </a:pPr>
            <a:r>
              <a:rPr lang="en-US" sz="1600" b="1" dirty="0">
                <a:solidFill>
                  <a:srgbClr val="002060"/>
                </a:solidFill>
              </a:rPr>
              <a:t> &gt; 25% clinical improvement – </a:t>
            </a:r>
            <a:r>
              <a:rPr lang="en-US" sz="1600" b="1" dirty="0">
                <a:solidFill>
                  <a:srgbClr val="FF0000"/>
                </a:solidFill>
              </a:rPr>
              <a:t>whichever earlier</a:t>
            </a:r>
          </a:p>
        </p:txBody>
      </p:sp>
      <p:sp>
        <p:nvSpPr>
          <p:cNvPr id="47" name="Rounded Rectangle 46"/>
          <p:cNvSpPr/>
          <p:nvPr/>
        </p:nvSpPr>
        <p:spPr>
          <a:xfrm>
            <a:off x="3983038" y="2455864"/>
            <a:ext cx="762000" cy="339725"/>
          </a:xfrm>
          <a:prstGeom prst="roundRect">
            <a:avLst/>
          </a:prstGeom>
          <a:solidFill>
            <a:schemeClr val="accent3">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anchor="ctr"/>
          <a:lstStyle/>
          <a:p>
            <a:pPr algn="ctr">
              <a:defRPr/>
            </a:pPr>
            <a:r>
              <a:rPr lang="en-US" sz="1600" b="1" dirty="0">
                <a:solidFill>
                  <a:schemeClr val="tx1"/>
                </a:solidFill>
              </a:rPr>
              <a:t>YES</a:t>
            </a:r>
          </a:p>
        </p:txBody>
      </p:sp>
      <p:sp>
        <p:nvSpPr>
          <p:cNvPr id="48" name="Rounded Rectangle 47"/>
          <p:cNvSpPr/>
          <p:nvPr/>
        </p:nvSpPr>
        <p:spPr>
          <a:xfrm>
            <a:off x="7507288" y="2501901"/>
            <a:ext cx="762000" cy="339725"/>
          </a:xfrm>
          <a:prstGeom prst="roundRect">
            <a:avLst/>
          </a:prstGeom>
          <a:solidFill>
            <a:srgbClr val="F1B6A6"/>
          </a:solidFill>
          <a:ln>
            <a:noFill/>
          </a:ln>
        </p:spPr>
        <p:style>
          <a:lnRef idx="0">
            <a:scrgbClr r="0" g="0" b="0"/>
          </a:lnRef>
          <a:fillRef idx="0">
            <a:scrgbClr r="0" g="0" b="0"/>
          </a:fillRef>
          <a:effectRef idx="0">
            <a:scrgbClr r="0" g="0" b="0"/>
          </a:effectRef>
          <a:fontRef idx="minor">
            <a:schemeClr val="lt1"/>
          </a:fontRef>
        </p:style>
        <p:txBody>
          <a:bodyPr anchor="ctr"/>
          <a:lstStyle/>
          <a:p>
            <a:pPr algn="ctr">
              <a:defRPr/>
            </a:pPr>
            <a:r>
              <a:rPr lang="en-US" sz="1600" b="1" dirty="0">
                <a:solidFill>
                  <a:schemeClr val="tx1"/>
                </a:solidFill>
              </a:rPr>
              <a:t>NO</a:t>
            </a:r>
          </a:p>
        </p:txBody>
      </p:sp>
    </p:spTree>
    <p:extLst>
      <p:ext uri="{BB962C8B-B14F-4D97-AF65-F5344CB8AC3E}">
        <p14:creationId xmlns:p14="http://schemas.microsoft.com/office/powerpoint/2010/main" val="18393066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le 1"/>
          <p:cNvSpPr>
            <a:spLocks noGrp="1"/>
          </p:cNvSpPr>
          <p:nvPr>
            <p:ph type="title"/>
          </p:nvPr>
        </p:nvSpPr>
        <p:spPr/>
        <p:txBody>
          <a:bodyPr/>
          <a:lstStyle/>
          <a:p>
            <a:pPr eaLnBrk="1" hangingPunct="1"/>
            <a:r>
              <a:rPr lang="en-IN" altLang="en-US">
                <a:latin typeface="Arial" panose="020B0604020202020204" pitchFamily="34" charset="0"/>
                <a:cs typeface="Arial" panose="020B0604020202020204" pitchFamily="34" charset="0"/>
              </a:rPr>
              <a:t>OBJECTIVES </a:t>
            </a:r>
          </a:p>
        </p:txBody>
      </p:sp>
      <p:sp>
        <p:nvSpPr>
          <p:cNvPr id="4099" name="Content Placeholder 2"/>
          <p:cNvSpPr>
            <a:spLocks noGrp="1"/>
          </p:cNvSpPr>
          <p:nvPr>
            <p:ph sz="quarter" idx="1"/>
          </p:nvPr>
        </p:nvSpPr>
        <p:spPr>
          <a:xfrm>
            <a:off x="1992313" y="1989138"/>
            <a:ext cx="8229600" cy="4525962"/>
          </a:xfrm>
        </p:spPr>
        <p:txBody>
          <a:bodyPr/>
          <a:lstStyle/>
          <a:p>
            <a:pPr marL="514350" indent="-514350">
              <a:buFont typeface="Calibri" panose="020F0502020204030204" pitchFamily="34" charset="0"/>
              <a:buAutoNum type="arabicPeriod"/>
            </a:pPr>
            <a:r>
              <a:rPr lang="en-IN" altLang="en-US" sz="2400" dirty="0"/>
              <a:t>How to care for patients with SCD in the Community Care Setting.</a:t>
            </a:r>
          </a:p>
          <a:p>
            <a:pPr marL="514350" indent="-514350">
              <a:buFont typeface="Calibri" panose="020F0502020204030204" pitchFamily="34" charset="0"/>
              <a:buAutoNum type="arabicPeriod"/>
            </a:pPr>
            <a:r>
              <a:rPr lang="en-IN" altLang="en-US" sz="2400" dirty="0"/>
              <a:t>To know to treat acute and chronic complications of SCD.</a:t>
            </a:r>
          </a:p>
          <a:p>
            <a:pPr marL="514350" indent="-514350">
              <a:buFont typeface="Calibri" panose="020F0502020204030204" pitchFamily="34" charset="0"/>
              <a:buAutoNum type="arabicPeriod"/>
            </a:pPr>
            <a:r>
              <a:rPr lang="en-IN" altLang="en-US" sz="2400" dirty="0"/>
              <a:t>To know the protocol for initiation of hydroxyurea therapy in patients with sickle cell disease.</a:t>
            </a:r>
          </a:p>
          <a:p>
            <a:pPr marL="514350" indent="-514350">
              <a:buFont typeface="Calibri" panose="020F0502020204030204" pitchFamily="34" charset="0"/>
              <a:buAutoNum type="arabicPeriod"/>
            </a:pPr>
            <a:r>
              <a:rPr lang="en-IN" altLang="en-US" sz="2400" dirty="0"/>
              <a:t>To know recommendations for acute transfusion in patients with Sickle cell disease.</a:t>
            </a:r>
          </a:p>
        </p:txBody>
      </p:sp>
    </p:spTree>
    <p:extLst>
      <p:ext uri="{BB962C8B-B14F-4D97-AF65-F5344CB8AC3E}">
        <p14:creationId xmlns:p14="http://schemas.microsoft.com/office/powerpoint/2010/main" val="398759085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8" name="Rectangle 7"/>
          <p:cNvSpPr>
            <a:spLocks noGrp="1" noRot="1" noChangeAspect="1" noMove="1" noResize="1" noEditPoints="1" noAdjustHandles="1" noChangeArrowheads="1" noChangeShapeType="1" noTextEdit="1"/>
          </p:cNvSpPr>
          <p:nvPr/>
        </p:nvSpPr>
        <p:spPr>
          <a:xfrm>
            <a:off x="1524000" y="0"/>
            <a:ext cx="9144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nvGrpSpPr>
          <p:cNvPr id="10" name="Group 9"/>
          <p:cNvGrpSpPr>
            <a:grpSpLocks noGrp="1" noUngrp="1" noRot="1" noChangeAspect="1" noMove="1" noResize="1"/>
          </p:cNvGrpSpPr>
          <p:nvPr/>
        </p:nvGrpSpPr>
        <p:grpSpPr>
          <a:xfrm rot="5400000">
            <a:off x="-963837" y="2732147"/>
            <a:ext cx="5860051" cy="395784"/>
            <a:chOff x="6081624" y="1998368"/>
            <a:chExt cx="5613457" cy="782175"/>
          </a:xfrm>
          <a:solidFill>
            <a:schemeClr val="accent4"/>
          </a:solidFill>
        </p:grpSpPr>
        <p:sp>
          <p:nvSpPr>
            <p:cNvPr id="11" name="Rectangle 10"/>
            <p:cNvSpPr/>
            <p:nvPr/>
          </p:nvSpPr>
          <p:spPr>
            <a:xfrm rot="5400000">
              <a:off x="11228040" y="2313027"/>
              <a:ext cx="781700" cy="152382"/>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1" name="Rectangle 11"/>
            <p:cNvSpPr/>
            <p:nvPr/>
          </p:nvSpPr>
          <p:spPr>
            <a:xfrm flipH="1" flipV="1">
              <a:off x="6081624" y="1998844"/>
              <a:ext cx="5372968" cy="78169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sp>
        <p:nvSpPr>
          <p:cNvPr id="14" name="Rectangle 13"/>
          <p:cNvSpPr>
            <a:spLocks noGrp="1" noRot="1" noChangeAspect="1" noMove="1" noResize="1" noEditPoints="1" noAdjustHandles="1" noChangeArrowheads="1" noChangeShapeType="1" noTextEdit="1"/>
          </p:cNvSpPr>
          <p:nvPr/>
        </p:nvSpPr>
        <p:spPr>
          <a:xfrm>
            <a:off x="1958975" y="922339"/>
            <a:ext cx="8332788" cy="5462587"/>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2" name="Title 1"/>
          <p:cNvSpPr>
            <a:spLocks noGrp="1"/>
          </p:cNvSpPr>
          <p:nvPr>
            <p:ph type="title"/>
          </p:nvPr>
        </p:nvSpPr>
        <p:spPr>
          <a:xfrm>
            <a:off x="2401889" y="565150"/>
            <a:ext cx="7388225" cy="800100"/>
          </a:xfrm>
        </p:spPr>
        <p:txBody>
          <a:bodyPr rtlCol="0" anchor="b">
            <a:normAutofit/>
          </a:bodyPr>
          <a:lstStyle/>
          <a:p>
            <a:pPr>
              <a:defRPr/>
            </a:pPr>
            <a:r>
              <a:rPr lang="en-US" sz="4700" dirty="0">
                <a:solidFill>
                  <a:srgbClr val="002060"/>
                </a:solidFill>
              </a:rPr>
              <a:t>HU in SCD : Summary</a:t>
            </a:r>
          </a:p>
        </p:txBody>
      </p:sp>
      <p:sp>
        <p:nvSpPr>
          <p:cNvPr id="3" name="Content Placeholder 2"/>
          <p:cNvSpPr>
            <a:spLocks noGrp="1"/>
          </p:cNvSpPr>
          <p:nvPr>
            <p:ph idx="1"/>
          </p:nvPr>
        </p:nvSpPr>
        <p:spPr>
          <a:xfrm>
            <a:off x="2541589" y="1898651"/>
            <a:ext cx="7939087" cy="3032125"/>
          </a:xfrm>
        </p:spPr>
        <p:txBody>
          <a:bodyPr rtlCol="0" anchor="ctr">
            <a:normAutofit fontScale="85000" lnSpcReduction="10000"/>
          </a:bodyPr>
          <a:lstStyle/>
          <a:p>
            <a:pPr>
              <a:defRPr/>
            </a:pPr>
            <a:r>
              <a:rPr lang="en-US" sz="2400" dirty="0"/>
              <a:t>Low fixed dose of HU is efficacious in improving clinical parameters</a:t>
            </a:r>
          </a:p>
          <a:p>
            <a:pPr>
              <a:defRPr/>
            </a:pPr>
            <a:r>
              <a:rPr lang="en-US" sz="2400" dirty="0"/>
              <a:t>Acceptable to the patient</a:t>
            </a:r>
          </a:p>
          <a:p>
            <a:pPr>
              <a:defRPr/>
            </a:pPr>
            <a:r>
              <a:rPr lang="en-US" sz="2400" dirty="0"/>
              <a:t>Transient neutropenia, thrombocytopenia</a:t>
            </a:r>
          </a:p>
          <a:p>
            <a:pPr>
              <a:defRPr/>
            </a:pPr>
            <a:r>
              <a:rPr lang="en-US" sz="2400" dirty="0"/>
              <a:t>Pregnancy, Infertility ??</a:t>
            </a:r>
          </a:p>
          <a:p>
            <a:pPr>
              <a:defRPr/>
            </a:pPr>
            <a:r>
              <a:rPr lang="en-US" sz="2400" dirty="0"/>
              <a:t>Personalized dosing based on pharmacokinetic modelling</a:t>
            </a:r>
          </a:p>
          <a:p>
            <a:pPr>
              <a:defRPr/>
            </a:pPr>
            <a:r>
              <a:rPr lang="en-US" sz="2400" dirty="0"/>
              <a:t>Better monitoring, Physician training and quality control of HU therapy in SCD in India</a:t>
            </a:r>
          </a:p>
          <a:p>
            <a:pPr marL="0" indent="0">
              <a:buNone/>
              <a:defRPr/>
            </a:pPr>
            <a:endParaRPr lang="en-US" sz="2400" dirty="0"/>
          </a:p>
        </p:txBody>
      </p:sp>
      <p:sp>
        <p:nvSpPr>
          <p:cNvPr id="14343" name="TextBox 3"/>
          <p:cNvSpPr txBox="1">
            <a:spLocks noChangeArrowheads="1"/>
          </p:cNvSpPr>
          <p:nvPr/>
        </p:nvSpPr>
        <p:spPr bwMode="auto">
          <a:xfrm>
            <a:off x="2490789" y="5221288"/>
            <a:ext cx="7069137" cy="831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2400" b="1">
                <a:solidFill>
                  <a:srgbClr val="002060"/>
                </a:solidFill>
              </a:rPr>
              <a:t>Standardization and Protocols are the mainstay of treatment and follow up</a:t>
            </a:r>
          </a:p>
        </p:txBody>
      </p:sp>
    </p:spTree>
    <p:extLst>
      <p:ext uri="{BB962C8B-B14F-4D97-AF65-F5344CB8AC3E}">
        <p14:creationId xmlns:p14="http://schemas.microsoft.com/office/powerpoint/2010/main" val="345453790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p:txBody>
          <a:bodyPr/>
          <a:lstStyle/>
          <a:p>
            <a:pPr eaLnBrk="1" hangingPunct="1"/>
            <a:r>
              <a:rPr lang="en-IN" altLang="en-US" b="1" u="sng"/>
              <a:t>Hydroxyurea</a:t>
            </a:r>
          </a:p>
        </p:txBody>
      </p:sp>
      <p:sp>
        <p:nvSpPr>
          <p:cNvPr id="15363" name="Text Placeholder 3"/>
          <p:cNvSpPr>
            <a:spLocks noGrp="1"/>
          </p:cNvSpPr>
          <p:nvPr>
            <p:ph type="body" idx="1"/>
          </p:nvPr>
        </p:nvSpPr>
        <p:spPr>
          <a:xfrm>
            <a:off x="1919289" y="1196976"/>
            <a:ext cx="4040187" cy="639763"/>
          </a:xfrm>
        </p:spPr>
        <p:txBody>
          <a:bodyPr>
            <a:normAutofit fontScale="92500"/>
          </a:bodyPr>
          <a:lstStyle/>
          <a:p>
            <a:pPr eaLnBrk="1" hangingPunct="1"/>
            <a:r>
              <a:rPr lang="en-IN" altLang="en-US" dirty="0"/>
              <a:t>CASE SCENARIO 1 		</a:t>
            </a:r>
          </a:p>
        </p:txBody>
      </p:sp>
      <p:sp>
        <p:nvSpPr>
          <p:cNvPr id="5" name="Content Placeholder 4"/>
          <p:cNvSpPr>
            <a:spLocks noGrp="1"/>
          </p:cNvSpPr>
          <p:nvPr>
            <p:ph sz="half" idx="2"/>
          </p:nvPr>
        </p:nvSpPr>
        <p:spPr>
          <a:xfrm>
            <a:off x="1631950" y="1844675"/>
            <a:ext cx="4389438" cy="2909888"/>
          </a:xfrm>
        </p:spPr>
        <p:txBody>
          <a:bodyPr rtlCol="0">
            <a:noAutofit/>
          </a:bodyPr>
          <a:lstStyle/>
          <a:p>
            <a:pPr>
              <a:defRPr/>
            </a:pPr>
            <a:r>
              <a:rPr lang="en-IN" sz="1600" dirty="0"/>
              <a:t>Mr Sunil, a 25 year old male patient, known case of sickle cell disease “SS” pattern came with H/O yellowish discolouration of body and swelling all over the body.</a:t>
            </a:r>
          </a:p>
          <a:p>
            <a:pPr>
              <a:defRPr/>
            </a:pPr>
            <a:r>
              <a:rPr lang="en-IN" sz="1600" dirty="0"/>
              <a:t>He was started on Hydroxyurea at the age of 10 years and has been taking it on </a:t>
            </a:r>
            <a:r>
              <a:rPr lang="en-IN" sz="1600" b="1" u="sng" dirty="0">
                <a:solidFill>
                  <a:schemeClr val="accent4">
                    <a:lumMod val="75000"/>
                  </a:schemeClr>
                </a:solidFill>
              </a:rPr>
              <a:t>weekends</a:t>
            </a:r>
            <a:r>
              <a:rPr lang="en-IN" sz="1600" b="1" dirty="0"/>
              <a:t> </a:t>
            </a:r>
            <a:r>
              <a:rPr lang="en-IN" sz="1600" dirty="0"/>
              <a:t>only.</a:t>
            </a:r>
          </a:p>
          <a:p>
            <a:pPr>
              <a:defRPr/>
            </a:pPr>
            <a:r>
              <a:rPr lang="en-IN" sz="1600" dirty="0"/>
              <a:t>He has </a:t>
            </a:r>
            <a:r>
              <a:rPr lang="en-IN" sz="1600" b="1" u="sng" dirty="0">
                <a:solidFill>
                  <a:schemeClr val="accent4">
                    <a:lumMod val="75000"/>
                  </a:schemeClr>
                </a:solidFill>
              </a:rPr>
              <a:t>never been on follow up </a:t>
            </a:r>
            <a:r>
              <a:rPr lang="en-IN" sz="1600" dirty="0"/>
              <a:t>since then for any blood investigations.</a:t>
            </a:r>
          </a:p>
        </p:txBody>
      </p:sp>
      <p:sp>
        <p:nvSpPr>
          <p:cNvPr id="15365" name="Text Placeholder 5"/>
          <p:cNvSpPr>
            <a:spLocks noGrp="1"/>
          </p:cNvSpPr>
          <p:nvPr>
            <p:ph type="body" sz="quarter" idx="3"/>
          </p:nvPr>
        </p:nvSpPr>
        <p:spPr>
          <a:xfrm>
            <a:off x="6096001" y="1196976"/>
            <a:ext cx="4041775" cy="639763"/>
          </a:xfrm>
        </p:spPr>
        <p:txBody>
          <a:bodyPr/>
          <a:lstStyle/>
          <a:p>
            <a:pPr eaLnBrk="1" hangingPunct="1"/>
            <a:r>
              <a:rPr lang="en-IN" altLang="en-US"/>
              <a:t>CASE SCENARIO 2</a:t>
            </a:r>
          </a:p>
        </p:txBody>
      </p:sp>
      <p:sp>
        <p:nvSpPr>
          <p:cNvPr id="7" name="Content Placeholder 6"/>
          <p:cNvSpPr>
            <a:spLocks noGrp="1"/>
          </p:cNvSpPr>
          <p:nvPr>
            <p:ph sz="quarter" idx="4"/>
          </p:nvPr>
        </p:nvSpPr>
        <p:spPr>
          <a:xfrm>
            <a:off x="6096001" y="1916114"/>
            <a:ext cx="4392613" cy="2808287"/>
          </a:xfrm>
        </p:spPr>
        <p:txBody>
          <a:bodyPr rtlCol="0">
            <a:noAutofit/>
          </a:bodyPr>
          <a:lstStyle/>
          <a:p>
            <a:pPr>
              <a:defRPr/>
            </a:pPr>
            <a:r>
              <a:rPr lang="en-IN" sz="1400" dirty="0"/>
              <a:t>Ms Lata, a 18 year old adolescent female came with c/o severe pallor of body.</a:t>
            </a:r>
          </a:p>
          <a:p>
            <a:pPr>
              <a:defRPr/>
            </a:pPr>
            <a:r>
              <a:rPr lang="en-IN" sz="1400" dirty="0"/>
              <a:t>Was started on Hydroxyurea 5 years back and stopped it 15 months ago, in view of ? Reason not known – as told by a near by physician.</a:t>
            </a:r>
          </a:p>
          <a:p>
            <a:pPr>
              <a:defRPr/>
            </a:pPr>
            <a:r>
              <a:rPr lang="en-IN" sz="1400" dirty="0"/>
              <a:t>Checking her documents, </a:t>
            </a:r>
            <a:r>
              <a:rPr lang="en-IN" sz="1400" b="1" u="sng" dirty="0">
                <a:solidFill>
                  <a:schemeClr val="accent4">
                    <a:lumMod val="75000"/>
                  </a:schemeClr>
                </a:solidFill>
              </a:rPr>
              <a:t>A persistently low Platelet count was found before stopping Hydroxyurea.</a:t>
            </a:r>
          </a:p>
          <a:p>
            <a:pPr>
              <a:defRPr/>
            </a:pPr>
            <a:r>
              <a:rPr lang="en-IN" sz="1400" dirty="0"/>
              <a:t>However </a:t>
            </a:r>
            <a:r>
              <a:rPr lang="en-IN" sz="1400" b="1" u="sng" dirty="0">
                <a:solidFill>
                  <a:schemeClr val="accent4">
                    <a:lumMod val="75000"/>
                  </a:schemeClr>
                </a:solidFill>
              </a:rPr>
              <a:t>she had not gone for follow up </a:t>
            </a:r>
            <a:r>
              <a:rPr lang="en-IN" sz="1400" dirty="0"/>
              <a:t>since then.</a:t>
            </a:r>
          </a:p>
        </p:txBody>
      </p:sp>
      <p:sp>
        <p:nvSpPr>
          <p:cNvPr id="3" name="Rectangle 2"/>
          <p:cNvSpPr/>
          <p:nvPr/>
        </p:nvSpPr>
        <p:spPr>
          <a:xfrm>
            <a:off x="2640013" y="5373688"/>
            <a:ext cx="6985000" cy="122396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285750" indent="-285750" algn="ctr">
              <a:buFont typeface="Arial" pitchFamily="34" charset="0"/>
              <a:buChar char="•"/>
              <a:defRPr/>
            </a:pPr>
            <a:r>
              <a:rPr lang="en-IN" sz="1600" b="1" dirty="0">
                <a:solidFill>
                  <a:schemeClr val="tx1"/>
                </a:solidFill>
              </a:rPr>
              <a:t>Daily dosing is the only recommendation.</a:t>
            </a:r>
          </a:p>
          <a:p>
            <a:pPr marL="285750" indent="-285750" algn="ctr">
              <a:buFont typeface="Arial" pitchFamily="34" charset="0"/>
              <a:buChar char="•"/>
              <a:defRPr/>
            </a:pPr>
            <a:r>
              <a:rPr lang="en-IN" sz="1600" b="1" dirty="0">
                <a:solidFill>
                  <a:schemeClr val="tx1"/>
                </a:solidFill>
              </a:rPr>
              <a:t>Weight appropriate dose as age increases.</a:t>
            </a:r>
          </a:p>
          <a:p>
            <a:pPr marL="285750" indent="-285750" algn="ctr">
              <a:buFont typeface="Arial" pitchFamily="34" charset="0"/>
              <a:buChar char="•"/>
              <a:defRPr/>
            </a:pPr>
            <a:r>
              <a:rPr lang="en-IN" sz="1600" b="1" dirty="0">
                <a:solidFill>
                  <a:schemeClr val="tx1"/>
                </a:solidFill>
              </a:rPr>
              <a:t>Regular follow up with appropriate investigations when on therapy.</a:t>
            </a:r>
          </a:p>
          <a:p>
            <a:pPr marL="285750" indent="-285750" algn="ctr">
              <a:buFont typeface="Arial" pitchFamily="34" charset="0"/>
              <a:buChar char="•"/>
              <a:defRPr/>
            </a:pPr>
            <a:endParaRPr lang="en-IN" sz="1600" b="1" dirty="0">
              <a:solidFill>
                <a:schemeClr val="tx1"/>
              </a:solidFill>
            </a:endParaRPr>
          </a:p>
        </p:txBody>
      </p:sp>
    </p:spTree>
    <p:extLst>
      <p:ext uri="{BB962C8B-B14F-4D97-AF65-F5344CB8AC3E}">
        <p14:creationId xmlns:p14="http://schemas.microsoft.com/office/powerpoint/2010/main" val="122985141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normAutofit/>
          </a:bodyPr>
          <a:lstStyle/>
          <a:p>
            <a:pPr>
              <a:defRPr/>
            </a:pPr>
            <a:r>
              <a:rPr lang="en-IN" dirty="0"/>
              <a:t>Recommendations Against Transfusion</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4061560853"/>
              </p:ext>
            </p:extLst>
          </p:nvPr>
        </p:nvGraphicFramePr>
        <p:xfrm>
          <a:off x="4067122" y="2177065"/>
          <a:ext cx="4225925" cy="3594100"/>
        </p:xfrm>
        <a:graphic>
          <a:graphicData uri="http://schemas.openxmlformats.org/drawingml/2006/table">
            <a:tbl>
              <a:tblPr firstRow="1" bandRow="1">
                <a:tableStyleId>{00A15C55-8517-42AA-B614-E9B94910E393}</a:tableStyleId>
              </a:tblPr>
              <a:tblGrid>
                <a:gridCol w="4225925">
                  <a:extLst>
                    <a:ext uri="{9D8B030D-6E8A-4147-A177-3AD203B41FA5}">
                      <a16:colId xmlns:a16="http://schemas.microsoft.com/office/drawing/2014/main" val="20000"/>
                    </a:ext>
                  </a:extLst>
                </a:gridCol>
              </a:tblGrid>
              <a:tr h="438745">
                <a:tc>
                  <a:txBody>
                    <a:bodyPr/>
                    <a:lstStyle/>
                    <a:p>
                      <a:pPr algn="ctr"/>
                      <a:r>
                        <a:rPr lang="en-IN" sz="2000" dirty="0"/>
                        <a:t>COMPLICATIONS</a:t>
                      </a:r>
                    </a:p>
                  </a:txBody>
                  <a:tcPr marL="91438" marR="91438" marT="45736" marB="45736"/>
                </a:tc>
                <a:extLst>
                  <a:ext uri="{0D108BD9-81ED-4DB2-BD59-A6C34878D82A}">
                    <a16:rowId xmlns:a16="http://schemas.microsoft.com/office/drawing/2014/main" val="10000"/>
                  </a:ext>
                </a:extLst>
              </a:tr>
              <a:tr h="438745">
                <a:tc>
                  <a:txBody>
                    <a:bodyPr/>
                    <a:lstStyle/>
                    <a:p>
                      <a:pPr algn="ctr"/>
                      <a:r>
                        <a:rPr lang="en-IN" sz="2000" dirty="0" err="1"/>
                        <a:t>Anemia</a:t>
                      </a:r>
                      <a:r>
                        <a:rPr lang="en-IN" sz="2000" dirty="0"/>
                        <a:t>, asymptomatic</a:t>
                      </a:r>
                    </a:p>
                  </a:txBody>
                  <a:tcPr marL="91438" marR="91438" marT="45736" marB="45736"/>
                </a:tc>
                <a:extLst>
                  <a:ext uri="{0D108BD9-81ED-4DB2-BD59-A6C34878D82A}">
                    <a16:rowId xmlns:a16="http://schemas.microsoft.com/office/drawing/2014/main" val="10001"/>
                  </a:ext>
                </a:extLst>
              </a:tr>
              <a:tr h="757285">
                <a:tc>
                  <a:txBody>
                    <a:bodyPr/>
                    <a:lstStyle/>
                    <a:p>
                      <a:pPr algn="ctr"/>
                      <a:r>
                        <a:rPr lang="en-IN" sz="2000" dirty="0"/>
                        <a:t>Kidney injury, unless multisystem organ failure</a:t>
                      </a:r>
                    </a:p>
                  </a:txBody>
                  <a:tcPr marL="91438" marR="91438" marT="45736" marB="45736"/>
                </a:tc>
                <a:extLst>
                  <a:ext uri="{0D108BD9-81ED-4DB2-BD59-A6C34878D82A}">
                    <a16:rowId xmlns:a16="http://schemas.microsoft.com/office/drawing/2014/main" val="10002"/>
                  </a:ext>
                </a:extLst>
              </a:tr>
              <a:tr h="438745">
                <a:tc>
                  <a:txBody>
                    <a:bodyPr/>
                    <a:lstStyle/>
                    <a:p>
                      <a:pPr algn="ctr"/>
                      <a:r>
                        <a:rPr lang="en-IN" sz="2000" dirty="0"/>
                        <a:t>Pain crisis, uncomplicated</a:t>
                      </a:r>
                    </a:p>
                  </a:txBody>
                  <a:tcPr marL="91438" marR="91438" marT="45736" marB="45736"/>
                </a:tc>
                <a:extLst>
                  <a:ext uri="{0D108BD9-81ED-4DB2-BD59-A6C34878D82A}">
                    <a16:rowId xmlns:a16="http://schemas.microsoft.com/office/drawing/2014/main" val="10003"/>
                  </a:ext>
                </a:extLst>
              </a:tr>
              <a:tr h="438745">
                <a:tc>
                  <a:txBody>
                    <a:bodyPr/>
                    <a:lstStyle/>
                    <a:p>
                      <a:pPr algn="ctr"/>
                      <a:r>
                        <a:rPr lang="en-IN" sz="2000" dirty="0"/>
                        <a:t>Priapism</a:t>
                      </a:r>
                    </a:p>
                  </a:txBody>
                  <a:tcPr marL="91438" marR="91438" marT="45736" marB="45736"/>
                </a:tc>
                <a:extLst>
                  <a:ext uri="{0D108BD9-81ED-4DB2-BD59-A6C34878D82A}">
                    <a16:rowId xmlns:a16="http://schemas.microsoft.com/office/drawing/2014/main" val="10004"/>
                  </a:ext>
                </a:extLst>
              </a:tr>
              <a:tr h="1081835">
                <a:tc>
                  <a:txBody>
                    <a:bodyPr/>
                    <a:lstStyle/>
                    <a:p>
                      <a:pPr algn="ctr"/>
                      <a:r>
                        <a:rPr lang="en-IN" sz="2000" u="sng" dirty="0"/>
                        <a:t>CHRONIC</a:t>
                      </a:r>
                    </a:p>
                    <a:p>
                      <a:pPr algn="ctr"/>
                      <a:r>
                        <a:rPr lang="en-IN" sz="2000" dirty="0"/>
                        <a:t>Splenic</a:t>
                      </a:r>
                      <a:r>
                        <a:rPr lang="en-IN" sz="2000" baseline="0" dirty="0"/>
                        <a:t> sequestration, Recurrent</a:t>
                      </a:r>
                      <a:endParaRPr lang="en-IN" sz="2000" dirty="0"/>
                    </a:p>
                  </a:txBody>
                  <a:tcPr marL="91438" marR="91438" marT="45736" marB="45736"/>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189057328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914400"/>
            <a:ext cx="8229600" cy="503238"/>
          </a:xfrm>
        </p:spPr>
        <p:txBody>
          <a:bodyPr rtlCol="0">
            <a:normAutofit fontScale="90000"/>
          </a:bodyPr>
          <a:lstStyle/>
          <a:p>
            <a:pPr>
              <a:defRPr/>
            </a:pPr>
            <a:r>
              <a:rPr lang="en-US" sz="4000" b="1" dirty="0"/>
              <a:t>Lesson 1 : Anemia</a:t>
            </a:r>
          </a:p>
        </p:txBody>
      </p:sp>
      <p:sp>
        <p:nvSpPr>
          <p:cNvPr id="3" name="Content Placeholder 2"/>
          <p:cNvSpPr>
            <a:spLocks noGrp="1"/>
          </p:cNvSpPr>
          <p:nvPr>
            <p:ph idx="1"/>
          </p:nvPr>
        </p:nvSpPr>
        <p:spPr/>
        <p:txBody>
          <a:bodyPr rtlCol="0">
            <a:normAutofit/>
          </a:bodyPr>
          <a:lstStyle/>
          <a:p>
            <a:pPr algn="just">
              <a:defRPr/>
            </a:pPr>
            <a:r>
              <a:rPr lang="en-US" sz="2400" i="1" dirty="0">
                <a:latin typeface="+mj-lt"/>
              </a:rPr>
              <a:t>A 6 years old  </a:t>
            </a:r>
            <a:r>
              <a:rPr lang="en-US" sz="2400" i="1" dirty="0" err="1">
                <a:latin typeface="+mj-lt"/>
              </a:rPr>
              <a:t>Meenal</a:t>
            </a:r>
            <a:r>
              <a:rPr lang="en-US" sz="2400" i="1" dirty="0">
                <a:latin typeface="+mj-lt"/>
              </a:rPr>
              <a:t> SS patient admitted, 5-6 times/year for blood transfusion to maintain                    </a:t>
            </a:r>
            <a:r>
              <a:rPr lang="en-US" sz="2400" i="1" dirty="0" err="1">
                <a:latin typeface="+mj-lt"/>
              </a:rPr>
              <a:t>Hb</a:t>
            </a:r>
            <a:r>
              <a:rPr lang="en-US" sz="2400" i="1" dirty="0">
                <a:latin typeface="+mj-lt"/>
              </a:rPr>
              <a:t> 8gm% since the age of 3 years. </a:t>
            </a:r>
          </a:p>
          <a:p>
            <a:pPr>
              <a:defRPr/>
            </a:pPr>
            <a:r>
              <a:rPr lang="en-US" sz="2400" i="1" dirty="0">
                <a:latin typeface="+mj-lt"/>
              </a:rPr>
              <a:t>Died in 2008</a:t>
            </a:r>
          </a:p>
          <a:p>
            <a:pPr lvl="1">
              <a:defRPr/>
            </a:pPr>
            <a:r>
              <a:rPr lang="en-US" i="1" dirty="0" err="1">
                <a:latin typeface="+mj-lt"/>
              </a:rPr>
              <a:t>Fulminant</a:t>
            </a:r>
            <a:r>
              <a:rPr lang="en-US" i="1" dirty="0">
                <a:latin typeface="+mj-lt"/>
              </a:rPr>
              <a:t> Hepatitis</a:t>
            </a:r>
          </a:p>
          <a:p>
            <a:pPr lvl="1">
              <a:defRPr/>
            </a:pPr>
            <a:r>
              <a:rPr lang="en-US" i="1" dirty="0">
                <a:latin typeface="+mj-lt"/>
              </a:rPr>
              <a:t>Retrovirus Positive</a:t>
            </a:r>
          </a:p>
          <a:p>
            <a:pPr algn="ctr">
              <a:buNone/>
              <a:defRPr/>
            </a:pPr>
            <a:r>
              <a:rPr lang="en-US" sz="2400" b="1" dirty="0">
                <a:solidFill>
                  <a:srgbClr val="7030A0"/>
                </a:solidFill>
                <a:latin typeface="+mj-lt"/>
              </a:rPr>
              <a:t>Blood can cause more harm than good to SS Patients</a:t>
            </a:r>
          </a:p>
        </p:txBody>
      </p:sp>
      <p:sp>
        <p:nvSpPr>
          <p:cNvPr id="19460" name="Text Box 4"/>
          <p:cNvSpPr txBox="1">
            <a:spLocks noChangeArrowheads="1"/>
          </p:cNvSpPr>
          <p:nvPr/>
        </p:nvSpPr>
        <p:spPr bwMode="auto">
          <a:xfrm rot="10800000" flipV="1">
            <a:off x="2247900" y="5207000"/>
            <a:ext cx="7545388" cy="160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457200" indent="-457200">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buFontTx/>
              <a:buNone/>
            </a:pPr>
            <a:r>
              <a:rPr lang="en-US" altLang="en-US" sz="1400" b="1">
                <a:solidFill>
                  <a:schemeClr val="accent2"/>
                </a:solidFill>
              </a:rPr>
              <a:t>PALLOR</a:t>
            </a:r>
          </a:p>
          <a:p>
            <a:pPr eaLnBrk="1" hangingPunct="1">
              <a:buFontTx/>
              <a:buNone/>
            </a:pPr>
            <a:r>
              <a:rPr lang="en-US" altLang="en-US" sz="1400"/>
              <a:t>Cases of low haemoglobin Level</a:t>
            </a:r>
          </a:p>
          <a:p>
            <a:pPr eaLnBrk="1" hangingPunct="1">
              <a:buFontTx/>
              <a:buNone/>
            </a:pPr>
            <a:r>
              <a:rPr lang="en-US" altLang="en-US" sz="1400"/>
              <a:t>Bone marrow (n  = 54)</a:t>
            </a:r>
          </a:p>
          <a:p>
            <a:pPr eaLnBrk="1" hangingPunct="1">
              <a:buFontTx/>
              <a:buChar char="•"/>
            </a:pPr>
            <a:r>
              <a:rPr lang="en-US" altLang="en-US" sz="1400"/>
              <a:t>Infection	Iron deficiency 	Folate Deficiency</a:t>
            </a:r>
          </a:p>
          <a:p>
            <a:pPr eaLnBrk="1" hangingPunct="1">
              <a:buFontTx/>
              <a:buChar char="•"/>
            </a:pPr>
            <a:r>
              <a:rPr lang="en-US" altLang="en-US" sz="1400"/>
              <a:t>Combined.  	Aplastic crisis.  	Sequestration crisis	Hypersplenism</a:t>
            </a:r>
          </a:p>
          <a:p>
            <a:pPr eaLnBrk="1" hangingPunct="1">
              <a:buFontTx/>
              <a:buNone/>
            </a:pPr>
            <a:endParaRPr lang="en-US" altLang="en-US" sz="1400" b="1" i="1"/>
          </a:p>
        </p:txBody>
      </p:sp>
    </p:spTree>
    <p:extLst>
      <p:ext uri="{BB962C8B-B14F-4D97-AF65-F5344CB8AC3E}">
        <p14:creationId xmlns:p14="http://schemas.microsoft.com/office/powerpoint/2010/main" val="2207800563"/>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Title 1"/>
          <p:cNvSpPr>
            <a:spLocks noGrp="1"/>
          </p:cNvSpPr>
          <p:nvPr>
            <p:ph type="title"/>
          </p:nvPr>
        </p:nvSpPr>
        <p:spPr/>
        <p:txBody>
          <a:bodyPr/>
          <a:lstStyle/>
          <a:p>
            <a:pPr eaLnBrk="1" hangingPunct="1"/>
            <a:r>
              <a:rPr lang="en-IN" altLang="en-US" sz="4000" b="1"/>
              <a:t>Lesson 2: Anaemia</a:t>
            </a:r>
          </a:p>
        </p:txBody>
      </p:sp>
      <p:sp>
        <p:nvSpPr>
          <p:cNvPr id="20483" name="Content Placeholder 2"/>
          <p:cNvSpPr>
            <a:spLocks noGrp="1"/>
          </p:cNvSpPr>
          <p:nvPr>
            <p:ph idx="1"/>
          </p:nvPr>
        </p:nvSpPr>
        <p:spPr/>
        <p:txBody>
          <a:bodyPr>
            <a:normAutofit/>
          </a:bodyPr>
          <a:lstStyle/>
          <a:p>
            <a:pPr eaLnBrk="1" hangingPunct="1"/>
            <a:r>
              <a:rPr lang="en-IN" altLang="en-US" sz="2000"/>
              <a:t>Vishal, 9 year old admitted from Betul with Hb 5gm%.</a:t>
            </a:r>
          </a:p>
          <a:p>
            <a:pPr eaLnBrk="1" hangingPunct="1"/>
            <a:r>
              <a:rPr lang="en-IN" altLang="en-US" sz="2000"/>
              <a:t>No CCF, no Encephalopathy, compensated anaemia.</a:t>
            </a:r>
          </a:p>
        </p:txBody>
      </p:sp>
      <p:graphicFrame>
        <p:nvGraphicFramePr>
          <p:cNvPr id="4" name="Table 3"/>
          <p:cNvGraphicFramePr>
            <a:graphicFrameLocks noGrp="1"/>
          </p:cNvGraphicFramePr>
          <p:nvPr>
            <p:extLst>
              <p:ext uri="{D42A27DB-BD31-4B8C-83A1-F6EECF244321}">
                <p14:modId xmlns:p14="http://schemas.microsoft.com/office/powerpoint/2010/main" val="378295337"/>
              </p:ext>
            </p:extLst>
          </p:nvPr>
        </p:nvGraphicFramePr>
        <p:xfrm>
          <a:off x="3935413" y="2940580"/>
          <a:ext cx="6732588" cy="3520884"/>
        </p:xfrm>
        <a:graphic>
          <a:graphicData uri="http://schemas.openxmlformats.org/drawingml/2006/table">
            <a:tbl>
              <a:tblPr firstRow="1" bandRow="1">
                <a:tableStyleId>{00A15C55-8517-42AA-B614-E9B94910E393}</a:tableStyleId>
              </a:tblPr>
              <a:tblGrid>
                <a:gridCol w="1021364">
                  <a:extLst>
                    <a:ext uri="{9D8B030D-6E8A-4147-A177-3AD203B41FA5}">
                      <a16:colId xmlns:a16="http://schemas.microsoft.com/office/drawing/2014/main" val="20000"/>
                    </a:ext>
                  </a:extLst>
                </a:gridCol>
                <a:gridCol w="1467103">
                  <a:extLst>
                    <a:ext uri="{9D8B030D-6E8A-4147-A177-3AD203B41FA5}">
                      <a16:colId xmlns:a16="http://schemas.microsoft.com/office/drawing/2014/main" val="20001"/>
                    </a:ext>
                  </a:extLst>
                </a:gridCol>
                <a:gridCol w="2305448">
                  <a:extLst>
                    <a:ext uri="{9D8B030D-6E8A-4147-A177-3AD203B41FA5}">
                      <a16:colId xmlns:a16="http://schemas.microsoft.com/office/drawing/2014/main" val="20002"/>
                    </a:ext>
                  </a:extLst>
                </a:gridCol>
                <a:gridCol w="1938673">
                  <a:extLst>
                    <a:ext uri="{9D8B030D-6E8A-4147-A177-3AD203B41FA5}">
                      <a16:colId xmlns:a16="http://schemas.microsoft.com/office/drawing/2014/main" val="20003"/>
                    </a:ext>
                  </a:extLst>
                </a:gridCol>
              </a:tblGrid>
              <a:tr h="886944">
                <a:tc>
                  <a:txBody>
                    <a:bodyPr/>
                    <a:lstStyle/>
                    <a:p>
                      <a:r>
                        <a:rPr lang="en-IN" sz="1800" dirty="0"/>
                        <a:t>Reticulocyte count</a:t>
                      </a:r>
                    </a:p>
                  </a:txBody>
                  <a:tcPr marL="91445" marR="91445" marT="45716" marB="45716"/>
                </a:tc>
                <a:tc>
                  <a:txBody>
                    <a:bodyPr/>
                    <a:lstStyle/>
                    <a:p>
                      <a:r>
                        <a:rPr lang="en-IN" sz="1800" dirty="0" err="1"/>
                        <a:t>Mcv</a:t>
                      </a:r>
                      <a:r>
                        <a:rPr lang="en-IN" sz="1800" dirty="0"/>
                        <a:t>  reduced</a:t>
                      </a:r>
                    </a:p>
                  </a:txBody>
                  <a:tcPr marL="91445" marR="91445" marT="45716" marB="45716"/>
                </a:tc>
                <a:tc>
                  <a:txBody>
                    <a:bodyPr/>
                    <a:lstStyle/>
                    <a:p>
                      <a:r>
                        <a:rPr lang="en-IN" sz="1800" dirty="0" err="1"/>
                        <a:t>Mcv</a:t>
                      </a:r>
                      <a:r>
                        <a:rPr lang="en-IN" sz="1800" baseline="0" dirty="0"/>
                        <a:t> unchanged</a:t>
                      </a:r>
                      <a:endParaRPr lang="en-IN" sz="1800" dirty="0"/>
                    </a:p>
                  </a:txBody>
                  <a:tcPr marL="91445" marR="91445" marT="45716" marB="45716"/>
                </a:tc>
                <a:tc>
                  <a:txBody>
                    <a:bodyPr/>
                    <a:lstStyle/>
                    <a:p>
                      <a:r>
                        <a:rPr lang="en-IN" sz="1800" dirty="0" err="1"/>
                        <a:t>Mcv</a:t>
                      </a:r>
                      <a:r>
                        <a:rPr lang="en-IN" sz="1800" baseline="0" dirty="0"/>
                        <a:t> increased</a:t>
                      </a:r>
                      <a:endParaRPr lang="en-IN" sz="1800" dirty="0"/>
                    </a:p>
                  </a:txBody>
                  <a:tcPr marL="91445" marR="91445" marT="45716" marB="45716"/>
                </a:tc>
                <a:extLst>
                  <a:ext uri="{0D108BD9-81ED-4DB2-BD59-A6C34878D82A}">
                    <a16:rowId xmlns:a16="http://schemas.microsoft.com/office/drawing/2014/main" val="10000"/>
                  </a:ext>
                </a:extLst>
              </a:tr>
              <a:tr h="375758">
                <a:tc>
                  <a:txBody>
                    <a:bodyPr/>
                    <a:lstStyle/>
                    <a:p>
                      <a:r>
                        <a:rPr lang="en-IN" sz="1400" dirty="0"/>
                        <a:t>0%</a:t>
                      </a:r>
                    </a:p>
                  </a:txBody>
                  <a:tcPr marL="91445" marR="91445" marT="45716" marB="45716"/>
                </a:tc>
                <a:tc>
                  <a:txBody>
                    <a:bodyPr/>
                    <a:lstStyle/>
                    <a:p>
                      <a:endParaRPr lang="en-IN" sz="1400" dirty="0"/>
                    </a:p>
                  </a:txBody>
                  <a:tcPr marL="91445" marR="91445" marT="45716" marB="45716"/>
                </a:tc>
                <a:tc>
                  <a:txBody>
                    <a:bodyPr/>
                    <a:lstStyle/>
                    <a:p>
                      <a:r>
                        <a:rPr lang="en-IN" sz="1400" dirty="0"/>
                        <a:t>Aplastic crisis</a:t>
                      </a:r>
                    </a:p>
                  </a:txBody>
                  <a:tcPr marL="91445" marR="91445" marT="45716" marB="45716"/>
                </a:tc>
                <a:tc>
                  <a:txBody>
                    <a:bodyPr/>
                    <a:lstStyle/>
                    <a:p>
                      <a:endParaRPr lang="en-IN" sz="1400"/>
                    </a:p>
                  </a:txBody>
                  <a:tcPr marL="91445" marR="91445" marT="45716" marB="45716"/>
                </a:tc>
                <a:extLst>
                  <a:ext uri="{0D108BD9-81ED-4DB2-BD59-A6C34878D82A}">
                    <a16:rowId xmlns:a16="http://schemas.microsoft.com/office/drawing/2014/main" val="10001"/>
                  </a:ext>
                </a:extLst>
              </a:tr>
              <a:tr h="709554">
                <a:tc>
                  <a:txBody>
                    <a:bodyPr/>
                    <a:lstStyle/>
                    <a:p>
                      <a:r>
                        <a:rPr lang="en-IN" sz="1400" dirty="0"/>
                        <a:t>2-5%</a:t>
                      </a:r>
                    </a:p>
                  </a:txBody>
                  <a:tcPr marL="91445" marR="91445" marT="45716" marB="45716"/>
                </a:tc>
                <a:tc>
                  <a:txBody>
                    <a:bodyPr/>
                    <a:lstStyle/>
                    <a:p>
                      <a:r>
                        <a:rPr lang="en-IN" sz="1400" dirty="0"/>
                        <a:t>Iron deficiency</a:t>
                      </a:r>
                    </a:p>
                  </a:txBody>
                  <a:tcPr marL="91445" marR="91445" marT="45716" marB="45716"/>
                </a:tc>
                <a:tc>
                  <a:txBody>
                    <a:bodyPr/>
                    <a:lstStyle/>
                    <a:p>
                      <a:r>
                        <a:rPr lang="en-IN" sz="1400" dirty="0"/>
                        <a:t>Combines deficiency</a:t>
                      </a:r>
                    </a:p>
                    <a:p>
                      <a:r>
                        <a:rPr lang="en-IN" sz="1400" dirty="0"/>
                        <a:t>Renal</a:t>
                      </a:r>
                      <a:r>
                        <a:rPr lang="en-IN" sz="1400" baseline="0" dirty="0"/>
                        <a:t> failure</a:t>
                      </a:r>
                    </a:p>
                    <a:p>
                      <a:r>
                        <a:rPr lang="en-IN" sz="1400" baseline="0" dirty="0"/>
                        <a:t>Infection</a:t>
                      </a:r>
                      <a:endParaRPr lang="en-IN" sz="1400" dirty="0"/>
                    </a:p>
                  </a:txBody>
                  <a:tcPr marL="91445" marR="91445" marT="45716" marB="45716"/>
                </a:tc>
                <a:tc>
                  <a:txBody>
                    <a:bodyPr/>
                    <a:lstStyle/>
                    <a:p>
                      <a:r>
                        <a:rPr lang="en-IN" sz="1400" dirty="0" err="1"/>
                        <a:t>Folate</a:t>
                      </a:r>
                      <a:r>
                        <a:rPr lang="en-IN" sz="1400" dirty="0"/>
                        <a:t> deficiency</a:t>
                      </a:r>
                    </a:p>
                  </a:txBody>
                  <a:tcPr marL="91445" marR="91445" marT="45716" marB="45716"/>
                </a:tc>
                <a:extLst>
                  <a:ext uri="{0D108BD9-81ED-4DB2-BD59-A6C34878D82A}">
                    <a16:rowId xmlns:a16="http://schemas.microsoft.com/office/drawing/2014/main" val="10002"/>
                  </a:ext>
                </a:extLst>
              </a:tr>
              <a:tr h="375758">
                <a:tc>
                  <a:txBody>
                    <a:bodyPr/>
                    <a:lstStyle/>
                    <a:p>
                      <a:r>
                        <a:rPr lang="en-IN" sz="1400" dirty="0"/>
                        <a:t>8-12%</a:t>
                      </a:r>
                    </a:p>
                  </a:txBody>
                  <a:tcPr marL="91445" marR="91445" marT="45716" marB="45716"/>
                </a:tc>
                <a:tc>
                  <a:txBody>
                    <a:bodyPr/>
                    <a:lstStyle/>
                    <a:p>
                      <a:r>
                        <a:rPr lang="en-IN" sz="1400" dirty="0"/>
                        <a:t>Blood loss</a:t>
                      </a:r>
                    </a:p>
                  </a:txBody>
                  <a:tcPr marL="91445" marR="91445" marT="45716" marB="45716"/>
                </a:tc>
                <a:tc>
                  <a:txBody>
                    <a:bodyPr/>
                    <a:lstStyle/>
                    <a:p>
                      <a:r>
                        <a:rPr lang="en-IN" sz="1400" dirty="0"/>
                        <a:t>Blood loss</a:t>
                      </a:r>
                    </a:p>
                  </a:txBody>
                  <a:tcPr marL="91445" marR="91445" marT="45716" marB="45716"/>
                </a:tc>
                <a:tc>
                  <a:txBody>
                    <a:bodyPr/>
                    <a:lstStyle/>
                    <a:p>
                      <a:endParaRPr lang="en-IN" sz="1400" dirty="0"/>
                    </a:p>
                  </a:txBody>
                  <a:tcPr marL="91445" marR="91445" marT="45716" marB="45716"/>
                </a:tc>
                <a:extLst>
                  <a:ext uri="{0D108BD9-81ED-4DB2-BD59-A6C34878D82A}">
                    <a16:rowId xmlns:a16="http://schemas.microsoft.com/office/drawing/2014/main" val="10003"/>
                  </a:ext>
                </a:extLst>
              </a:tr>
              <a:tr h="1123464">
                <a:tc>
                  <a:txBody>
                    <a:bodyPr/>
                    <a:lstStyle/>
                    <a:p>
                      <a:r>
                        <a:rPr lang="en-IN" sz="1400" dirty="0"/>
                        <a:t>&gt;20%</a:t>
                      </a:r>
                    </a:p>
                  </a:txBody>
                  <a:tcPr marL="91445" marR="91445" marT="45716" marB="45716"/>
                </a:tc>
                <a:tc>
                  <a:txBody>
                    <a:bodyPr/>
                    <a:lstStyle/>
                    <a:p>
                      <a:r>
                        <a:rPr lang="en-IN" sz="1400" dirty="0"/>
                        <a:t>Iron deficiency</a:t>
                      </a:r>
                      <a:r>
                        <a:rPr lang="en-IN" sz="1400" baseline="0" dirty="0"/>
                        <a:t> on treatment</a:t>
                      </a:r>
                      <a:endParaRPr lang="en-IN" sz="1400" dirty="0"/>
                    </a:p>
                  </a:txBody>
                  <a:tcPr marL="91445" marR="91445" marT="45716" marB="45716"/>
                </a:tc>
                <a:tc>
                  <a:txBody>
                    <a:bodyPr/>
                    <a:lstStyle/>
                    <a:p>
                      <a:r>
                        <a:rPr lang="en-IN" sz="1400" dirty="0"/>
                        <a:t>Acute splenic</a:t>
                      </a:r>
                      <a:r>
                        <a:rPr lang="en-IN" sz="1400" baseline="0" dirty="0"/>
                        <a:t> sequestration</a:t>
                      </a:r>
                    </a:p>
                    <a:p>
                      <a:r>
                        <a:rPr lang="en-IN" sz="1400" baseline="0" dirty="0" err="1"/>
                        <a:t>Hypersplenism</a:t>
                      </a:r>
                      <a:endParaRPr lang="en-IN" sz="1400" baseline="0" dirty="0"/>
                    </a:p>
                    <a:p>
                      <a:r>
                        <a:rPr lang="en-IN" sz="1400" baseline="0" dirty="0"/>
                        <a:t>Hepatic sequestration</a:t>
                      </a:r>
                      <a:endParaRPr lang="en-IN" sz="1400" dirty="0"/>
                    </a:p>
                  </a:txBody>
                  <a:tcPr marL="91445" marR="91445" marT="45716" marB="45716"/>
                </a:tc>
                <a:tc>
                  <a:txBody>
                    <a:bodyPr/>
                    <a:lstStyle/>
                    <a:p>
                      <a:r>
                        <a:rPr lang="en-IN" sz="1400" dirty="0" err="1"/>
                        <a:t>Folate</a:t>
                      </a:r>
                      <a:r>
                        <a:rPr lang="en-IN" sz="1400" dirty="0"/>
                        <a:t> deficiency on treatment</a:t>
                      </a:r>
                    </a:p>
                  </a:txBody>
                  <a:tcPr marL="91445" marR="91445" marT="45716" marB="45716"/>
                </a:tc>
                <a:extLst>
                  <a:ext uri="{0D108BD9-81ED-4DB2-BD59-A6C34878D82A}">
                    <a16:rowId xmlns:a16="http://schemas.microsoft.com/office/drawing/2014/main" val="10004"/>
                  </a:ext>
                </a:extLst>
              </a:tr>
            </a:tbl>
          </a:graphicData>
        </a:graphic>
      </p:graphicFrame>
      <p:sp>
        <p:nvSpPr>
          <p:cNvPr id="5" name="Oval 4"/>
          <p:cNvSpPr/>
          <p:nvPr/>
        </p:nvSpPr>
        <p:spPr>
          <a:xfrm>
            <a:off x="1414463" y="3890525"/>
            <a:ext cx="1944687" cy="1655762"/>
          </a:xfrm>
          <a:prstGeom prst="ellipse">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IN" sz="2000" b="1" dirty="0">
                <a:solidFill>
                  <a:srgbClr val="7030A0"/>
                </a:solidFill>
              </a:rPr>
              <a:t>LOOK FOR CAUSES OF ANAEMIA AND TREAT</a:t>
            </a:r>
          </a:p>
        </p:txBody>
      </p:sp>
    </p:spTree>
    <p:extLst>
      <p:ext uri="{BB962C8B-B14F-4D97-AF65-F5344CB8AC3E}">
        <p14:creationId xmlns:p14="http://schemas.microsoft.com/office/powerpoint/2010/main" val="399353921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836614"/>
            <a:ext cx="8229600" cy="581025"/>
          </a:xfrm>
        </p:spPr>
        <p:txBody>
          <a:bodyPr rtlCol="0">
            <a:normAutofit fontScale="90000"/>
          </a:bodyPr>
          <a:lstStyle/>
          <a:p>
            <a:pPr>
              <a:defRPr/>
            </a:pPr>
            <a:r>
              <a:rPr lang="en-US" sz="4000" b="1" dirty="0"/>
              <a:t>Lesson 3 : Malaria</a:t>
            </a:r>
          </a:p>
        </p:txBody>
      </p:sp>
      <p:sp>
        <p:nvSpPr>
          <p:cNvPr id="3" name="Content Placeholder 2"/>
          <p:cNvSpPr>
            <a:spLocks noGrp="1"/>
          </p:cNvSpPr>
          <p:nvPr>
            <p:ph idx="1"/>
          </p:nvPr>
        </p:nvSpPr>
        <p:spPr>
          <a:xfrm>
            <a:off x="1981200" y="1935164"/>
            <a:ext cx="8229600" cy="3322637"/>
          </a:xfrm>
        </p:spPr>
        <p:txBody>
          <a:bodyPr rtlCol="0">
            <a:normAutofit fontScale="77500" lnSpcReduction="20000"/>
          </a:bodyPr>
          <a:lstStyle/>
          <a:p>
            <a:pPr>
              <a:defRPr/>
            </a:pPr>
            <a:r>
              <a:rPr lang="en-US" i="1" dirty="0">
                <a:latin typeface="+mj-lt"/>
              </a:rPr>
              <a:t>4 years old </a:t>
            </a:r>
            <a:r>
              <a:rPr lang="en-US" i="1" dirty="0" err="1">
                <a:latin typeface="+mj-lt"/>
              </a:rPr>
              <a:t>Raghav</a:t>
            </a:r>
            <a:r>
              <a:rPr lang="en-US" i="1" dirty="0">
                <a:latin typeface="+mj-lt"/>
              </a:rPr>
              <a:t> (AS) admitted with gross pallor, </a:t>
            </a:r>
            <a:r>
              <a:rPr lang="en-US" i="1" dirty="0" err="1">
                <a:latin typeface="+mj-lt"/>
              </a:rPr>
              <a:t>splenomegaly</a:t>
            </a:r>
            <a:r>
              <a:rPr lang="en-US" i="1" dirty="0">
                <a:latin typeface="+mj-lt"/>
              </a:rPr>
              <a:t> and fever</a:t>
            </a:r>
          </a:p>
          <a:p>
            <a:pPr>
              <a:defRPr/>
            </a:pPr>
            <a:r>
              <a:rPr lang="en-US" i="1" dirty="0">
                <a:latin typeface="+mj-lt"/>
              </a:rPr>
              <a:t>PS for Malarial Parasite positive (</a:t>
            </a:r>
            <a:r>
              <a:rPr lang="en-US" sz="2000" i="1" dirty="0" err="1">
                <a:latin typeface="+mj-lt"/>
              </a:rPr>
              <a:t>vivax</a:t>
            </a:r>
            <a:r>
              <a:rPr lang="en-US" sz="2000" i="1" dirty="0">
                <a:latin typeface="+mj-lt"/>
              </a:rPr>
              <a:t> and Falciparum)</a:t>
            </a:r>
            <a:endParaRPr lang="en-US" i="1" dirty="0">
              <a:latin typeface="+mj-lt"/>
            </a:endParaRPr>
          </a:p>
          <a:p>
            <a:pPr>
              <a:buNone/>
              <a:defRPr/>
            </a:pPr>
            <a:endParaRPr lang="en-US" dirty="0">
              <a:latin typeface="+mj-lt"/>
            </a:endParaRPr>
          </a:p>
          <a:p>
            <a:pPr algn="ctr">
              <a:buNone/>
              <a:defRPr/>
            </a:pPr>
            <a:r>
              <a:rPr lang="en-US" u="sng" dirty="0">
                <a:solidFill>
                  <a:srgbClr val="C00000"/>
                </a:solidFill>
                <a:latin typeface="+mj-lt"/>
              </a:rPr>
              <a:t> </a:t>
            </a:r>
            <a:endParaRPr lang="en-US" dirty="0">
              <a:solidFill>
                <a:srgbClr val="C00000"/>
              </a:solidFill>
              <a:latin typeface="+mj-lt"/>
            </a:endParaRPr>
          </a:p>
          <a:p>
            <a:pPr algn="ctr">
              <a:buNone/>
              <a:defRPr/>
            </a:pPr>
            <a:r>
              <a:rPr lang="en-US" sz="3500" b="1" dirty="0">
                <a:solidFill>
                  <a:srgbClr val="7030A0"/>
                </a:solidFill>
                <a:latin typeface="+mj-lt"/>
              </a:rPr>
              <a:t>Malaria seen as much in normal patients</a:t>
            </a:r>
          </a:p>
          <a:p>
            <a:pPr algn="ctr">
              <a:buNone/>
              <a:defRPr/>
            </a:pPr>
            <a:r>
              <a:rPr lang="en-US" sz="3500" b="1" dirty="0">
                <a:solidFill>
                  <a:srgbClr val="7030A0"/>
                </a:solidFill>
                <a:latin typeface="+mj-lt"/>
              </a:rPr>
              <a:t>Think Malaria – May need prophylaxis </a:t>
            </a:r>
          </a:p>
        </p:txBody>
      </p:sp>
      <p:pic>
        <p:nvPicPr>
          <p:cNvPr id="2150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74826" y="6324600"/>
            <a:ext cx="851217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509"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74826" y="5791200"/>
            <a:ext cx="8435975"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23276543"/>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1143000"/>
            <a:ext cx="8229600" cy="274638"/>
          </a:xfrm>
        </p:spPr>
        <p:txBody>
          <a:bodyPr rtlCol="0">
            <a:normAutofit fontScale="90000"/>
          </a:bodyPr>
          <a:lstStyle/>
          <a:p>
            <a:pPr>
              <a:defRPr/>
            </a:pPr>
            <a:r>
              <a:rPr lang="en-US" sz="4000" b="1" dirty="0"/>
              <a:t>Lesson 4 : Prophylaxis for Infection</a:t>
            </a:r>
          </a:p>
        </p:txBody>
      </p:sp>
      <p:sp>
        <p:nvSpPr>
          <p:cNvPr id="3" name="Content Placeholder 2"/>
          <p:cNvSpPr>
            <a:spLocks noGrp="1"/>
          </p:cNvSpPr>
          <p:nvPr>
            <p:ph idx="1"/>
          </p:nvPr>
        </p:nvSpPr>
        <p:spPr>
          <a:xfrm>
            <a:off x="1981200" y="1905000"/>
            <a:ext cx="8229600" cy="2743200"/>
          </a:xfrm>
        </p:spPr>
        <p:txBody>
          <a:bodyPr rtlCol="0">
            <a:noAutofit/>
          </a:bodyPr>
          <a:lstStyle/>
          <a:p>
            <a:pPr>
              <a:buNone/>
              <a:defRPr/>
            </a:pPr>
            <a:r>
              <a:rPr lang="en-US" b="1" dirty="0"/>
              <a:t>Bacteremia in Sickle Cell Disease in India raises the question of epidemiology of bacterial Infection</a:t>
            </a:r>
          </a:p>
          <a:p>
            <a:pPr>
              <a:buNone/>
              <a:defRPr/>
            </a:pPr>
            <a:r>
              <a:rPr lang="en-US" sz="2400" b="1" dirty="0"/>
              <a:t>      (Cohort Study)</a:t>
            </a:r>
          </a:p>
          <a:p>
            <a:pPr>
              <a:buNone/>
              <a:defRPr/>
            </a:pPr>
            <a:endParaRPr lang="en-US" b="1" dirty="0"/>
          </a:p>
          <a:p>
            <a:pPr>
              <a:buNone/>
              <a:defRPr/>
            </a:pPr>
            <a:r>
              <a:rPr lang="en-US" b="1" dirty="0">
                <a:latin typeface="+mj-lt"/>
              </a:rPr>
              <a:t>Pneumococcal Prophylaxis</a:t>
            </a:r>
          </a:p>
          <a:p>
            <a:pPr>
              <a:buNone/>
              <a:defRPr/>
            </a:pPr>
            <a:endParaRPr lang="en-US" b="1" dirty="0">
              <a:latin typeface="+mj-lt"/>
            </a:endParaRPr>
          </a:p>
          <a:p>
            <a:pPr algn="ctr">
              <a:buNone/>
              <a:defRPr/>
            </a:pPr>
            <a:r>
              <a:rPr lang="en-US" b="1" dirty="0">
                <a:solidFill>
                  <a:srgbClr val="7030A0"/>
                </a:solidFill>
                <a:latin typeface="+mj-lt"/>
              </a:rPr>
              <a:t>? Others site specific </a:t>
            </a:r>
          </a:p>
          <a:p>
            <a:pPr algn="ctr">
              <a:buNone/>
              <a:defRPr/>
            </a:pPr>
            <a:r>
              <a:rPr lang="en-US" b="1" u="sng" dirty="0">
                <a:solidFill>
                  <a:srgbClr val="C00000"/>
                </a:solidFill>
                <a:latin typeface="+mj-lt"/>
              </a:rPr>
              <a:t> </a:t>
            </a:r>
            <a:endParaRPr lang="en-US" b="1" dirty="0">
              <a:solidFill>
                <a:srgbClr val="C00000"/>
              </a:solidFill>
              <a:latin typeface="+mj-lt"/>
            </a:endParaRPr>
          </a:p>
          <a:p>
            <a:pPr algn="ctr">
              <a:buNone/>
              <a:defRPr/>
            </a:pPr>
            <a:r>
              <a:rPr lang="en-US" b="1" dirty="0">
                <a:solidFill>
                  <a:srgbClr val="C00000"/>
                </a:solidFill>
                <a:latin typeface="+mj-lt"/>
              </a:rPr>
              <a:t> </a:t>
            </a:r>
          </a:p>
        </p:txBody>
      </p:sp>
      <p:sp>
        <p:nvSpPr>
          <p:cNvPr id="22532" name="TextBox 4"/>
          <p:cNvSpPr txBox="1">
            <a:spLocks noChangeArrowheads="1"/>
          </p:cNvSpPr>
          <p:nvPr/>
        </p:nvSpPr>
        <p:spPr bwMode="auto">
          <a:xfrm>
            <a:off x="1703388" y="5562601"/>
            <a:ext cx="8355012" cy="1323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eaLnBrk="1" hangingPunct="1">
              <a:spcBef>
                <a:spcPct val="0"/>
              </a:spcBef>
              <a:buFontTx/>
              <a:buNone/>
            </a:pPr>
            <a:r>
              <a:rPr lang="en-US" altLang="en-US" sz="1600"/>
              <a:t>Pneumococcal Infections and Sickle Cell disease in Africa : does absence of evidence imply evidence of absence                                               </a:t>
            </a:r>
            <a:r>
              <a:rPr lang="en-US" altLang="en-US" sz="1600" i="1"/>
              <a:t>Arch Dis Child 2009 94: 713-716</a:t>
            </a:r>
          </a:p>
          <a:p>
            <a:pPr eaLnBrk="1" hangingPunct="1">
              <a:spcBef>
                <a:spcPct val="0"/>
              </a:spcBef>
              <a:buFontTx/>
              <a:buNone/>
            </a:pPr>
            <a:endParaRPr lang="en-US" altLang="en-US" sz="1600" i="1"/>
          </a:p>
          <a:p>
            <a:pPr eaLnBrk="1" hangingPunct="1">
              <a:spcBef>
                <a:spcPct val="0"/>
              </a:spcBef>
              <a:buFontTx/>
              <a:buNone/>
            </a:pPr>
            <a:r>
              <a:rPr lang="en-US" altLang="en-US" sz="1600" i="1"/>
              <a:t>Bacteraemia in homozygous sickle cell disease in Africa : is pneumococcal prophylaxis justified?                                                                                                              				   Arch Dis Child 2007; 92 : 21-23 </a:t>
            </a:r>
          </a:p>
        </p:txBody>
      </p:sp>
    </p:spTree>
    <p:extLst>
      <p:ext uri="{BB962C8B-B14F-4D97-AF65-F5344CB8AC3E}">
        <p14:creationId xmlns:p14="http://schemas.microsoft.com/office/powerpoint/2010/main" val="4133085756"/>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1143000"/>
            <a:ext cx="8229600" cy="274638"/>
          </a:xfrm>
        </p:spPr>
        <p:txBody>
          <a:bodyPr rtlCol="0">
            <a:normAutofit fontScale="90000"/>
          </a:bodyPr>
          <a:lstStyle/>
          <a:p>
            <a:pPr>
              <a:defRPr/>
            </a:pPr>
            <a:r>
              <a:rPr lang="en-US" sz="4000" b="1" dirty="0"/>
              <a:t>Lesson 5 : Protocol </a:t>
            </a:r>
          </a:p>
        </p:txBody>
      </p:sp>
      <p:sp>
        <p:nvSpPr>
          <p:cNvPr id="3" name="Content Placeholder 2"/>
          <p:cNvSpPr>
            <a:spLocks noGrp="1"/>
          </p:cNvSpPr>
          <p:nvPr>
            <p:ph idx="1"/>
          </p:nvPr>
        </p:nvSpPr>
        <p:spPr>
          <a:xfrm>
            <a:off x="1981200" y="1905000"/>
            <a:ext cx="8229600" cy="2743200"/>
          </a:xfrm>
        </p:spPr>
        <p:txBody>
          <a:bodyPr rtlCol="0">
            <a:noAutofit/>
          </a:bodyPr>
          <a:lstStyle/>
          <a:p>
            <a:pPr>
              <a:buNone/>
              <a:defRPr/>
            </a:pPr>
            <a:r>
              <a:rPr lang="en-US" sz="2400" b="1" dirty="0"/>
              <a:t>Comprehensive health care guidelines available from World Literature is collected on patients with different background </a:t>
            </a:r>
          </a:p>
          <a:p>
            <a:pPr>
              <a:buNone/>
              <a:defRPr/>
            </a:pPr>
            <a:r>
              <a:rPr lang="en-US" sz="2400" b="1" i="1" dirty="0">
                <a:latin typeface="+mj-lt"/>
              </a:rPr>
              <a:t>    Where there is no malaria, no malnutrition and no severe bacterial and viral infections </a:t>
            </a:r>
          </a:p>
          <a:p>
            <a:pPr>
              <a:buNone/>
              <a:defRPr/>
            </a:pPr>
            <a:endParaRPr lang="en-US" sz="2400" b="1" dirty="0">
              <a:latin typeface="+mj-lt"/>
            </a:endParaRPr>
          </a:p>
          <a:p>
            <a:pPr algn="ctr">
              <a:buNone/>
              <a:defRPr/>
            </a:pPr>
            <a:r>
              <a:rPr lang="en-US" sz="2400" b="1" dirty="0">
                <a:solidFill>
                  <a:srgbClr val="7030A0"/>
                </a:solidFill>
                <a:latin typeface="+mj-lt"/>
              </a:rPr>
              <a:t>Guidelines for resource restrain countries</a:t>
            </a:r>
          </a:p>
          <a:p>
            <a:pPr algn="ctr">
              <a:buNone/>
              <a:defRPr/>
            </a:pPr>
            <a:r>
              <a:rPr lang="en-US" sz="2400" b="1" u="sng" dirty="0">
                <a:solidFill>
                  <a:srgbClr val="C00000"/>
                </a:solidFill>
                <a:latin typeface="+mj-lt"/>
              </a:rPr>
              <a:t> </a:t>
            </a:r>
            <a:endParaRPr lang="en-US" sz="2400" b="1" dirty="0">
              <a:solidFill>
                <a:srgbClr val="C00000"/>
              </a:solidFill>
              <a:latin typeface="+mj-lt"/>
            </a:endParaRPr>
          </a:p>
          <a:p>
            <a:pPr algn="ctr">
              <a:buNone/>
              <a:defRPr/>
            </a:pPr>
            <a:r>
              <a:rPr lang="en-US" b="1" dirty="0">
                <a:solidFill>
                  <a:srgbClr val="C00000"/>
                </a:solidFill>
                <a:latin typeface="+mj-lt"/>
              </a:rPr>
              <a:t> </a:t>
            </a:r>
          </a:p>
        </p:txBody>
      </p:sp>
      <p:sp>
        <p:nvSpPr>
          <p:cNvPr id="23556" name="TextBox 4"/>
          <p:cNvSpPr txBox="1">
            <a:spLocks noChangeArrowheads="1"/>
          </p:cNvSpPr>
          <p:nvPr/>
        </p:nvSpPr>
        <p:spPr bwMode="auto">
          <a:xfrm>
            <a:off x="2514600" y="5486401"/>
            <a:ext cx="693420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eaLnBrk="1" hangingPunct="1">
              <a:spcBef>
                <a:spcPct val="0"/>
              </a:spcBef>
              <a:buFontTx/>
              <a:buNone/>
            </a:pPr>
            <a:r>
              <a:rPr lang="en-US" altLang="en-US" sz="2400" b="1"/>
              <a:t>Multidisciplinary Team (Commitment)</a:t>
            </a:r>
          </a:p>
        </p:txBody>
      </p:sp>
    </p:spTree>
    <p:extLst>
      <p:ext uri="{BB962C8B-B14F-4D97-AF65-F5344CB8AC3E}">
        <p14:creationId xmlns:p14="http://schemas.microsoft.com/office/powerpoint/2010/main" val="89087954"/>
      </p:ext>
    </p:extLst>
  </p:cSld>
  <p:clrMapOvr>
    <a:masterClrMapping/>
  </p:clrMapOv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IN" b="1" u="sng" dirty="0"/>
              <a:t>Living Well With Sickle Cell Disease</a:t>
            </a:r>
          </a:p>
        </p:txBody>
      </p:sp>
      <p:graphicFrame>
        <p:nvGraphicFramePr>
          <p:cNvPr id="4" name="Content Placeholder 3"/>
          <p:cNvGraphicFramePr>
            <a:graphicFrameLocks noGrp="1"/>
          </p:cNvGraphicFramePr>
          <p:nvPr>
            <p:ph idx="1"/>
          </p:nvPr>
        </p:nvGraphicFramePr>
        <p:xfrm>
          <a:off x="1524000" y="1600201"/>
          <a:ext cx="8686800" cy="45259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Rectangle 2"/>
          <p:cNvSpPr/>
          <p:nvPr/>
        </p:nvSpPr>
        <p:spPr>
          <a:xfrm>
            <a:off x="3359696" y="6021288"/>
            <a:ext cx="4824536" cy="57606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IN" sz="3200" b="1" dirty="0">
                <a:solidFill>
                  <a:schemeClr val="tx1"/>
                </a:solidFill>
              </a:rPr>
              <a:t>SICKLE DIARY</a:t>
            </a: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Title 6"/>
          <p:cNvSpPr>
            <a:spLocks noGrp="1"/>
          </p:cNvSpPr>
          <p:nvPr>
            <p:ph type="title"/>
          </p:nvPr>
        </p:nvSpPr>
        <p:spPr/>
        <p:txBody>
          <a:bodyPr/>
          <a:lstStyle/>
          <a:p>
            <a:pPr eaLnBrk="1" hangingPunct="1"/>
            <a:r>
              <a:rPr lang="en-IN" altLang="en-US" b="1" u="sng"/>
              <a:t>Record keeping diary</a:t>
            </a:r>
          </a:p>
        </p:txBody>
      </p:sp>
      <p:sp>
        <p:nvSpPr>
          <p:cNvPr id="25603" name="Content Placeholder 7"/>
          <p:cNvSpPr>
            <a:spLocks noGrp="1"/>
          </p:cNvSpPr>
          <p:nvPr>
            <p:ph idx="1"/>
          </p:nvPr>
        </p:nvSpPr>
        <p:spPr>
          <a:xfrm>
            <a:off x="1555530" y="1825625"/>
            <a:ext cx="9798269" cy="4351338"/>
          </a:xfrm>
        </p:spPr>
        <p:txBody>
          <a:bodyPr/>
          <a:lstStyle/>
          <a:p>
            <a:pPr eaLnBrk="1" hangingPunct="1"/>
            <a:endParaRPr lang="en-IN" altLang="en-US" dirty="0"/>
          </a:p>
        </p:txBody>
      </p:sp>
      <p:pic>
        <p:nvPicPr>
          <p:cNvPr id="2560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636331" y="1409317"/>
            <a:ext cx="4229100" cy="495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5605"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65431" y="1690688"/>
            <a:ext cx="4333875" cy="495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468402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B1845374-AA4C-43DC-A181-B87D497C8C24}"/>
              </a:ext>
            </a:extLst>
          </p:cNvPr>
          <p:cNvSpPr>
            <a:spLocks noGrp="1"/>
          </p:cNvSpPr>
          <p:nvPr>
            <p:ph type="sldNum" sz="quarter" idx="12"/>
          </p:nvPr>
        </p:nvSpPr>
        <p:spPr/>
        <p:txBody>
          <a:bodyPr/>
          <a:lstStyle/>
          <a:p>
            <a:fld id="{23AA811B-2EBD-4900-905E-5BE206449611}" type="slidenum">
              <a:rPr lang="en-US" smtClean="0"/>
              <a:pPr/>
              <a:t>4</a:t>
            </a:fld>
            <a:endParaRPr lang="en-US" dirty="0"/>
          </a:p>
        </p:txBody>
      </p:sp>
      <p:sp>
        <p:nvSpPr>
          <p:cNvPr id="10" name="Title 11">
            <a:extLst>
              <a:ext uri="{FF2B5EF4-FFF2-40B4-BE49-F238E27FC236}">
                <a16:creationId xmlns:a16="http://schemas.microsoft.com/office/drawing/2014/main" id="{8FC97D72-8A2A-A666-40F8-5DD2202B7AD2}"/>
              </a:ext>
            </a:extLst>
          </p:cNvPr>
          <p:cNvSpPr>
            <a:spLocks noGrp="1"/>
          </p:cNvSpPr>
          <p:nvPr>
            <p:ph type="title"/>
          </p:nvPr>
        </p:nvSpPr>
        <p:spPr>
          <a:xfrm>
            <a:off x="648000" y="648000"/>
            <a:ext cx="10896000" cy="384390"/>
          </a:xfrm>
        </p:spPr>
        <p:txBody>
          <a:bodyPr>
            <a:noAutofit/>
          </a:bodyPr>
          <a:lstStyle/>
          <a:p>
            <a:r>
              <a:rPr lang="en-US" sz="3200" dirty="0">
                <a:solidFill>
                  <a:srgbClr val="001965"/>
                </a:solidFill>
              </a:rPr>
              <a:t>Clinical manifestations of sickle cell disease</a:t>
            </a:r>
          </a:p>
        </p:txBody>
      </p:sp>
      <p:sp>
        <p:nvSpPr>
          <p:cNvPr id="3" name="Text Placeholder 5">
            <a:extLst>
              <a:ext uri="{FF2B5EF4-FFF2-40B4-BE49-F238E27FC236}">
                <a16:creationId xmlns:a16="http://schemas.microsoft.com/office/drawing/2014/main" id="{40FC0299-0050-6761-DF21-27F8B4250402}"/>
              </a:ext>
            </a:extLst>
          </p:cNvPr>
          <p:cNvSpPr>
            <a:spLocks noGrp="1"/>
          </p:cNvSpPr>
          <p:nvPr>
            <p:ph type="body" sz="quarter" idx="13"/>
          </p:nvPr>
        </p:nvSpPr>
        <p:spPr>
          <a:xfrm>
            <a:off x="773156" y="6391979"/>
            <a:ext cx="10441766" cy="324000"/>
          </a:xfrm>
        </p:spPr>
        <p:txBody>
          <a:bodyPr/>
          <a:lstStyle/>
          <a:p>
            <a:r>
              <a:rPr lang="en-GB" sz="700" dirty="0">
                <a:solidFill>
                  <a:srgbClr val="001965"/>
                </a:solidFill>
              </a:rPr>
              <a:t>HbF, </a:t>
            </a:r>
            <a:r>
              <a:rPr lang="en-GB" sz="700" dirty="0" err="1">
                <a:solidFill>
                  <a:srgbClr val="001965"/>
                </a:solidFill>
              </a:rPr>
              <a:t>fetal</a:t>
            </a:r>
            <a:r>
              <a:rPr lang="en-GB" sz="700" dirty="0">
                <a:solidFill>
                  <a:srgbClr val="001965"/>
                </a:solidFill>
              </a:rPr>
              <a:t> </a:t>
            </a:r>
            <a:r>
              <a:rPr lang="en-GB" sz="700" dirty="0" err="1">
                <a:solidFill>
                  <a:srgbClr val="001965"/>
                </a:solidFill>
              </a:rPr>
              <a:t>hemoglobin</a:t>
            </a:r>
            <a:r>
              <a:rPr lang="en-GB" sz="700" dirty="0">
                <a:solidFill>
                  <a:srgbClr val="001965"/>
                </a:solidFill>
              </a:rPr>
              <a:t>; </a:t>
            </a:r>
            <a:r>
              <a:rPr lang="en-GB" sz="700" dirty="0" err="1">
                <a:solidFill>
                  <a:srgbClr val="001965"/>
                </a:solidFill>
              </a:rPr>
              <a:t>HbS</a:t>
            </a:r>
            <a:r>
              <a:rPr lang="en-GB" sz="700" dirty="0">
                <a:solidFill>
                  <a:srgbClr val="001965"/>
                </a:solidFill>
              </a:rPr>
              <a:t>, sickle </a:t>
            </a:r>
            <a:r>
              <a:rPr lang="en-GB" sz="700" dirty="0" err="1">
                <a:solidFill>
                  <a:srgbClr val="001965"/>
                </a:solidFill>
              </a:rPr>
              <a:t>hemoglobin</a:t>
            </a:r>
            <a:r>
              <a:rPr lang="en-GB" sz="700" dirty="0">
                <a:solidFill>
                  <a:srgbClr val="001965"/>
                </a:solidFill>
              </a:rPr>
              <a:t>.</a:t>
            </a:r>
            <a:br>
              <a:rPr lang="en-GB" sz="700" dirty="0">
                <a:solidFill>
                  <a:srgbClr val="001965"/>
                </a:solidFill>
              </a:rPr>
            </a:br>
            <a:r>
              <a:rPr lang="en-GB" sz="700" dirty="0">
                <a:solidFill>
                  <a:srgbClr val="001965"/>
                </a:solidFill>
              </a:rPr>
              <a:t>1. Kanter J and Kruse-</a:t>
            </a:r>
            <a:r>
              <a:rPr lang="en-GB" sz="700" dirty="0" err="1">
                <a:solidFill>
                  <a:srgbClr val="001965"/>
                </a:solidFill>
              </a:rPr>
              <a:t>Jarres</a:t>
            </a:r>
            <a:r>
              <a:rPr lang="en-GB" sz="700" dirty="0">
                <a:solidFill>
                  <a:srgbClr val="001965"/>
                </a:solidFill>
              </a:rPr>
              <a:t> R. Blood Rev 2013;27:279-87; 2. Sankaran VG, Orkin SH. Cold Spring </a:t>
            </a:r>
            <a:r>
              <a:rPr lang="en-GB" sz="700" dirty="0" err="1">
                <a:solidFill>
                  <a:srgbClr val="001965"/>
                </a:solidFill>
              </a:rPr>
              <a:t>Harb</a:t>
            </a:r>
            <a:r>
              <a:rPr lang="en-GB" sz="700" dirty="0">
                <a:solidFill>
                  <a:srgbClr val="001965"/>
                </a:solidFill>
              </a:rPr>
              <a:t> </a:t>
            </a:r>
            <a:r>
              <a:rPr lang="en-GB" sz="700" dirty="0" err="1">
                <a:solidFill>
                  <a:srgbClr val="001965"/>
                </a:solidFill>
              </a:rPr>
              <a:t>Perspect</a:t>
            </a:r>
            <a:r>
              <a:rPr lang="en-GB" sz="700" dirty="0">
                <a:solidFill>
                  <a:srgbClr val="001965"/>
                </a:solidFill>
              </a:rPr>
              <a:t> Med 2013;3:a011643; 3. Kato GJ et al. Nat Rev Dis Primers 2018;4:18010.</a:t>
            </a:r>
          </a:p>
        </p:txBody>
      </p:sp>
      <p:sp>
        <p:nvSpPr>
          <p:cNvPr id="4" name="Rectangle: Rounded Corners 3">
            <a:extLst>
              <a:ext uri="{FF2B5EF4-FFF2-40B4-BE49-F238E27FC236}">
                <a16:creationId xmlns:a16="http://schemas.microsoft.com/office/drawing/2014/main" id="{12735B90-2367-5DF5-6050-D9E898316A19}"/>
              </a:ext>
            </a:extLst>
          </p:cNvPr>
          <p:cNvSpPr/>
          <p:nvPr/>
        </p:nvSpPr>
        <p:spPr>
          <a:xfrm>
            <a:off x="647400" y="1825241"/>
            <a:ext cx="3566160" cy="3657600"/>
          </a:xfrm>
          <a:prstGeom prst="roundRect">
            <a:avLst/>
          </a:prstGeom>
          <a:solidFill>
            <a:srgbClr val="F8DCE5"/>
          </a:solidFill>
          <a:ln w="28575">
            <a:noFill/>
          </a:ln>
        </p:spPr>
        <p:style>
          <a:lnRef idx="1">
            <a:schemeClr val="dk1"/>
          </a:lnRef>
          <a:fillRef idx="3">
            <a:schemeClr val="dk1"/>
          </a:fillRef>
          <a:effectRef idx="2">
            <a:schemeClr val="dk1"/>
          </a:effectRef>
          <a:fontRef idx="minor">
            <a:schemeClr val="lt1"/>
          </a:fontRef>
        </p:style>
        <p:txBody>
          <a:bodyPr lIns="96000" tIns="144000" rIns="96000" bIns="48000" rtlCol="0" anchor="t"/>
          <a:lstStyle/>
          <a:p>
            <a:pPr algn="ctr" defTabSz="1219140" fontAlgn="base">
              <a:spcBef>
                <a:spcPts val="1600"/>
              </a:spcBef>
              <a:spcAft>
                <a:spcPct val="0"/>
              </a:spcAft>
            </a:pPr>
            <a:r>
              <a:rPr lang="en-CA" dirty="0">
                <a:solidFill>
                  <a:srgbClr val="001965"/>
                </a:solidFill>
              </a:rPr>
              <a:t>The disease is present at birth, but symptoms appear at ~6 months of age with the shift from predominantly </a:t>
            </a:r>
            <a:br>
              <a:rPr lang="en-CA" dirty="0">
                <a:solidFill>
                  <a:srgbClr val="001965"/>
                </a:solidFill>
              </a:rPr>
            </a:br>
            <a:r>
              <a:rPr lang="en-CA" dirty="0" err="1">
                <a:solidFill>
                  <a:srgbClr val="001965"/>
                </a:solidFill>
              </a:rPr>
              <a:t>HbF</a:t>
            </a:r>
            <a:r>
              <a:rPr lang="en-CA" dirty="0">
                <a:solidFill>
                  <a:srgbClr val="001965"/>
                </a:solidFill>
              </a:rPr>
              <a:t> to HbS</a:t>
            </a:r>
            <a:r>
              <a:rPr lang="en-CA" baseline="30000" dirty="0">
                <a:solidFill>
                  <a:srgbClr val="001965"/>
                </a:solidFill>
              </a:rPr>
              <a:t>1,2</a:t>
            </a:r>
            <a:endParaRPr lang="en-CA" dirty="0">
              <a:solidFill>
                <a:srgbClr val="001965"/>
              </a:solidFill>
            </a:endParaRPr>
          </a:p>
          <a:p>
            <a:pPr algn="ctr" defTabSz="1219140" fontAlgn="base">
              <a:spcBef>
                <a:spcPts val="1600"/>
              </a:spcBef>
              <a:spcAft>
                <a:spcPct val="0"/>
              </a:spcAft>
            </a:pPr>
            <a:endParaRPr lang="en-US" sz="2000" b="1" dirty="0" err="1">
              <a:solidFill>
                <a:srgbClr val="001965"/>
              </a:solidFill>
            </a:endParaRPr>
          </a:p>
        </p:txBody>
      </p:sp>
      <p:sp>
        <p:nvSpPr>
          <p:cNvPr id="5" name="Rectangle: Rounded Corners 4">
            <a:extLst>
              <a:ext uri="{FF2B5EF4-FFF2-40B4-BE49-F238E27FC236}">
                <a16:creationId xmlns:a16="http://schemas.microsoft.com/office/drawing/2014/main" id="{C4489B6D-9A3C-AC50-36F6-7C489F0E8B9B}"/>
              </a:ext>
            </a:extLst>
          </p:cNvPr>
          <p:cNvSpPr/>
          <p:nvPr/>
        </p:nvSpPr>
        <p:spPr>
          <a:xfrm>
            <a:off x="4313219" y="1825241"/>
            <a:ext cx="3566160" cy="3657600"/>
          </a:xfrm>
          <a:prstGeom prst="roundRect">
            <a:avLst/>
          </a:prstGeom>
          <a:solidFill>
            <a:srgbClr val="B1D5F2"/>
          </a:solidFill>
          <a:ln w="28575">
            <a:noFill/>
          </a:ln>
        </p:spPr>
        <p:style>
          <a:lnRef idx="1">
            <a:schemeClr val="dk1"/>
          </a:lnRef>
          <a:fillRef idx="3">
            <a:schemeClr val="dk1"/>
          </a:fillRef>
          <a:effectRef idx="2">
            <a:schemeClr val="dk1"/>
          </a:effectRef>
          <a:fontRef idx="minor">
            <a:schemeClr val="lt1"/>
          </a:fontRef>
        </p:style>
        <p:txBody>
          <a:bodyPr lIns="96000" tIns="144000" rIns="96000" bIns="48000" rtlCol="0" anchor="t"/>
          <a:lstStyle/>
          <a:p>
            <a:pPr algn="ctr" fontAlgn="base">
              <a:spcBef>
                <a:spcPct val="0"/>
              </a:spcBef>
              <a:spcAft>
                <a:spcPts val="1067"/>
              </a:spcAft>
              <a:defRPr/>
            </a:pPr>
            <a:r>
              <a:rPr lang="en-CA" dirty="0">
                <a:solidFill>
                  <a:srgbClr val="001965"/>
                </a:solidFill>
              </a:rPr>
              <a:t>The severity and complications of the disease worsen with age and are related to organ damage</a:t>
            </a:r>
            <a:r>
              <a:rPr lang="en-CA" baseline="30000" dirty="0">
                <a:solidFill>
                  <a:srgbClr val="001965"/>
                </a:solidFill>
              </a:rPr>
              <a:t>1</a:t>
            </a:r>
          </a:p>
          <a:p>
            <a:pPr lvl="0" algn="ctr" fontAlgn="base">
              <a:spcBef>
                <a:spcPct val="0"/>
              </a:spcBef>
              <a:spcAft>
                <a:spcPct val="0"/>
              </a:spcAft>
              <a:defRPr/>
            </a:pPr>
            <a:r>
              <a:rPr lang="en-CA" dirty="0">
                <a:solidFill>
                  <a:srgbClr val="001965"/>
                </a:solidFill>
              </a:rPr>
              <a:t>Causes of death are more variable in adults</a:t>
            </a:r>
            <a:br>
              <a:rPr lang="en-CA" dirty="0">
                <a:solidFill>
                  <a:srgbClr val="001965"/>
                </a:solidFill>
              </a:rPr>
            </a:br>
            <a:r>
              <a:rPr lang="en-CA" dirty="0">
                <a:solidFill>
                  <a:srgbClr val="001965"/>
                </a:solidFill>
              </a:rPr>
              <a:t>than in children</a:t>
            </a:r>
            <a:r>
              <a:rPr lang="en-CA" baseline="30000" dirty="0">
                <a:solidFill>
                  <a:srgbClr val="001965"/>
                </a:solidFill>
              </a:rPr>
              <a:t>1</a:t>
            </a:r>
            <a:endParaRPr lang="en-CA" dirty="0">
              <a:solidFill>
                <a:srgbClr val="001965"/>
              </a:solidFill>
            </a:endParaRPr>
          </a:p>
          <a:p>
            <a:pPr algn="ctr" defTabSz="1219140" fontAlgn="base">
              <a:spcBef>
                <a:spcPts val="1600"/>
              </a:spcBef>
              <a:spcAft>
                <a:spcPct val="0"/>
              </a:spcAft>
            </a:pPr>
            <a:endParaRPr lang="en-US" sz="2000" b="1" dirty="0" err="1">
              <a:solidFill>
                <a:srgbClr val="001965"/>
              </a:solidFill>
            </a:endParaRPr>
          </a:p>
        </p:txBody>
      </p:sp>
      <p:sp>
        <p:nvSpPr>
          <p:cNvPr id="11" name="Rectangle: Rounded Corners 10">
            <a:extLst>
              <a:ext uri="{FF2B5EF4-FFF2-40B4-BE49-F238E27FC236}">
                <a16:creationId xmlns:a16="http://schemas.microsoft.com/office/drawing/2014/main" id="{3AB05F45-554A-0423-5EAC-DD3EC1A2CAA6}"/>
              </a:ext>
            </a:extLst>
          </p:cNvPr>
          <p:cNvSpPr/>
          <p:nvPr/>
        </p:nvSpPr>
        <p:spPr>
          <a:xfrm>
            <a:off x="7978440" y="1825241"/>
            <a:ext cx="3566160" cy="3657600"/>
          </a:xfrm>
          <a:prstGeom prst="roundRect">
            <a:avLst/>
          </a:prstGeom>
          <a:solidFill>
            <a:srgbClr val="939AA7"/>
          </a:solidFill>
          <a:ln w="28575">
            <a:noFill/>
          </a:ln>
        </p:spPr>
        <p:style>
          <a:lnRef idx="1">
            <a:schemeClr val="dk1"/>
          </a:lnRef>
          <a:fillRef idx="3">
            <a:schemeClr val="dk1"/>
          </a:fillRef>
          <a:effectRef idx="2">
            <a:schemeClr val="dk1"/>
          </a:effectRef>
          <a:fontRef idx="minor">
            <a:schemeClr val="lt1"/>
          </a:fontRef>
        </p:style>
        <p:txBody>
          <a:bodyPr lIns="96000" tIns="144000" rIns="96000" bIns="48000" rtlCol="0" anchor="t"/>
          <a:lstStyle/>
          <a:p>
            <a:pPr algn="ctr" defTabSz="1219140" fontAlgn="base">
              <a:spcBef>
                <a:spcPct val="0"/>
              </a:spcBef>
              <a:spcAft>
                <a:spcPct val="0"/>
              </a:spcAft>
              <a:defRPr/>
            </a:pPr>
            <a:r>
              <a:rPr lang="en-CA" dirty="0">
                <a:solidFill>
                  <a:srgbClr val="FFFFFF"/>
                </a:solidFill>
              </a:rPr>
              <a:t>The most common symptoms are linked to:</a:t>
            </a:r>
            <a:r>
              <a:rPr lang="en-CA" baseline="30000" dirty="0">
                <a:solidFill>
                  <a:srgbClr val="FFFFFF"/>
                </a:solidFill>
              </a:rPr>
              <a:t>1,3</a:t>
            </a:r>
            <a:endParaRPr lang="en-CA" dirty="0">
              <a:solidFill>
                <a:srgbClr val="FFFFFF"/>
              </a:solidFill>
            </a:endParaRPr>
          </a:p>
          <a:p>
            <a:pPr defTabSz="1219140" fontAlgn="base">
              <a:spcBef>
                <a:spcPct val="0"/>
              </a:spcBef>
              <a:spcAft>
                <a:spcPct val="0"/>
              </a:spcAft>
              <a:defRPr/>
            </a:pPr>
            <a:endParaRPr lang="en-CA" sz="1400" dirty="0">
              <a:solidFill>
                <a:srgbClr val="FFFFFF"/>
              </a:solidFill>
            </a:endParaRPr>
          </a:p>
          <a:p>
            <a:pPr marL="380981" indent="-380981" defTabSz="1219140" fontAlgn="base">
              <a:spcBef>
                <a:spcPct val="0"/>
              </a:spcBef>
              <a:spcAft>
                <a:spcPct val="0"/>
              </a:spcAft>
              <a:buFont typeface="Arial" panose="020B0604020202020204" pitchFamily="34" charset="0"/>
              <a:buChar char="•"/>
              <a:defRPr/>
            </a:pPr>
            <a:r>
              <a:rPr lang="en-CA" sz="1400" dirty="0">
                <a:solidFill>
                  <a:srgbClr val="FFFFFF"/>
                </a:solidFill>
              </a:rPr>
              <a:t>Hemolytic anemia</a:t>
            </a:r>
          </a:p>
          <a:p>
            <a:pPr marL="380981" indent="-380981" defTabSz="1219140" fontAlgn="base">
              <a:spcBef>
                <a:spcPct val="0"/>
              </a:spcBef>
              <a:spcAft>
                <a:spcPct val="0"/>
              </a:spcAft>
              <a:buFont typeface="Arial" panose="020B0604020202020204" pitchFamily="34" charset="0"/>
              <a:buChar char="•"/>
              <a:defRPr/>
            </a:pPr>
            <a:r>
              <a:rPr lang="en-CA" sz="1400" dirty="0">
                <a:solidFill>
                  <a:srgbClr val="FFFFFF"/>
                </a:solidFill>
              </a:rPr>
              <a:t>Painful </a:t>
            </a:r>
            <a:r>
              <a:rPr lang="en-CA" sz="1400" dirty="0" err="1">
                <a:solidFill>
                  <a:srgbClr val="FFFFFF"/>
                </a:solidFill>
              </a:rPr>
              <a:t>vaso</a:t>
            </a:r>
            <a:r>
              <a:rPr lang="en-CA" sz="1400" dirty="0">
                <a:solidFill>
                  <a:srgbClr val="FFFFFF"/>
                </a:solidFill>
              </a:rPr>
              <a:t>-occlusive crisis</a:t>
            </a:r>
          </a:p>
          <a:p>
            <a:pPr marL="380981" indent="-380981" defTabSz="1219140" fontAlgn="base">
              <a:spcBef>
                <a:spcPct val="0"/>
              </a:spcBef>
              <a:spcAft>
                <a:spcPct val="0"/>
              </a:spcAft>
              <a:buFont typeface="Arial" panose="020B0604020202020204" pitchFamily="34" charset="0"/>
              <a:buChar char="•"/>
              <a:defRPr/>
            </a:pPr>
            <a:r>
              <a:rPr lang="en-CA" sz="1400" dirty="0">
                <a:solidFill>
                  <a:srgbClr val="FFFFFF"/>
                </a:solidFill>
              </a:rPr>
              <a:t>Complications resulting from organ damage due to microinfarctions</a:t>
            </a:r>
          </a:p>
          <a:p>
            <a:pPr algn="ctr" defTabSz="1219140" fontAlgn="base">
              <a:spcBef>
                <a:spcPts val="1600"/>
              </a:spcBef>
              <a:spcAft>
                <a:spcPct val="0"/>
              </a:spcAft>
            </a:pPr>
            <a:endParaRPr lang="en-US" sz="2000" b="1" dirty="0" err="1">
              <a:solidFill>
                <a:srgbClr val="FFFFFF"/>
              </a:solidFill>
            </a:endParaRPr>
          </a:p>
        </p:txBody>
      </p:sp>
      <p:pic>
        <p:nvPicPr>
          <p:cNvPr id="12" name="Graphic 11">
            <a:extLst>
              <a:ext uri="{FF2B5EF4-FFF2-40B4-BE49-F238E27FC236}">
                <a16:creationId xmlns:a16="http://schemas.microsoft.com/office/drawing/2014/main" id="{6151B3E0-E9A5-45A4-DEB1-DAE5D5A4318D}"/>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67022" y="4007768"/>
            <a:ext cx="1128112" cy="1128112"/>
          </a:xfrm>
          <a:prstGeom prst="rect">
            <a:avLst/>
          </a:prstGeom>
        </p:spPr>
      </p:pic>
      <p:sp>
        <p:nvSpPr>
          <p:cNvPr id="22" name="Freeform: Shape 21">
            <a:extLst>
              <a:ext uri="{FF2B5EF4-FFF2-40B4-BE49-F238E27FC236}">
                <a16:creationId xmlns:a16="http://schemas.microsoft.com/office/drawing/2014/main" id="{6D75374F-B399-9DAC-8638-9B24E811B82D}"/>
              </a:ext>
            </a:extLst>
          </p:cNvPr>
          <p:cNvSpPr/>
          <p:nvPr/>
        </p:nvSpPr>
        <p:spPr>
          <a:xfrm>
            <a:off x="5994039" y="4761696"/>
            <a:ext cx="30853" cy="47515"/>
          </a:xfrm>
          <a:custGeom>
            <a:avLst/>
            <a:gdLst>
              <a:gd name="connsiteX0" fmla="*/ 13288 w 30853"/>
              <a:gd name="connsiteY0" fmla="*/ 47516 h 47515"/>
              <a:gd name="connsiteX1" fmla="*/ 21478 w 30853"/>
              <a:gd name="connsiteY1" fmla="*/ 47516 h 47515"/>
              <a:gd name="connsiteX2" fmla="*/ 30854 w 30853"/>
              <a:gd name="connsiteY2" fmla="*/ 38140 h 47515"/>
              <a:gd name="connsiteX3" fmla="*/ 21478 w 30853"/>
              <a:gd name="connsiteY3" fmla="*/ 28764 h 47515"/>
              <a:gd name="connsiteX4" fmla="*/ 18752 w 30853"/>
              <a:gd name="connsiteY4" fmla="*/ 28764 h 47515"/>
              <a:gd name="connsiteX5" fmla="*/ 18752 w 30853"/>
              <a:gd name="connsiteY5" fmla="*/ 9376 h 47515"/>
              <a:gd name="connsiteX6" fmla="*/ 9376 w 30853"/>
              <a:gd name="connsiteY6" fmla="*/ 0 h 47515"/>
              <a:gd name="connsiteX7" fmla="*/ 0 w 30853"/>
              <a:gd name="connsiteY7" fmla="*/ 9376 h 47515"/>
              <a:gd name="connsiteX8" fmla="*/ 0 w 30853"/>
              <a:gd name="connsiteY8" fmla="*/ 34233 h 47515"/>
              <a:gd name="connsiteX9" fmla="*/ 13288 w 30853"/>
              <a:gd name="connsiteY9" fmla="*/ 47516 h 475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0853" h="47515">
                <a:moveTo>
                  <a:pt x="13288" y="47516"/>
                </a:moveTo>
                <a:lnTo>
                  <a:pt x="21478" y="47516"/>
                </a:lnTo>
                <a:cubicBezTo>
                  <a:pt x="26653" y="47516"/>
                  <a:pt x="30854" y="43320"/>
                  <a:pt x="30854" y="38140"/>
                </a:cubicBezTo>
                <a:cubicBezTo>
                  <a:pt x="30854" y="32958"/>
                  <a:pt x="26653" y="28764"/>
                  <a:pt x="21478" y="28764"/>
                </a:cubicBezTo>
                <a:lnTo>
                  <a:pt x="18752" y="28764"/>
                </a:lnTo>
                <a:lnTo>
                  <a:pt x="18752" y="9376"/>
                </a:lnTo>
                <a:cubicBezTo>
                  <a:pt x="18752" y="4194"/>
                  <a:pt x="14558" y="0"/>
                  <a:pt x="9376" y="0"/>
                </a:cubicBezTo>
                <a:cubicBezTo>
                  <a:pt x="4201" y="0"/>
                  <a:pt x="0" y="4194"/>
                  <a:pt x="0" y="9376"/>
                </a:cubicBezTo>
                <a:lnTo>
                  <a:pt x="0" y="34233"/>
                </a:lnTo>
                <a:cubicBezTo>
                  <a:pt x="0" y="41553"/>
                  <a:pt x="5963" y="47516"/>
                  <a:pt x="13288" y="47516"/>
                </a:cubicBezTo>
                <a:close/>
              </a:path>
            </a:pathLst>
          </a:custGeom>
          <a:solidFill>
            <a:srgbClr val="001965"/>
          </a:solidFill>
          <a:ln w="1246" cap="flat">
            <a:noFill/>
            <a:prstDash val="solid"/>
            <a:miter/>
          </a:ln>
        </p:spPr>
        <p:txBody>
          <a:bodyPr rtlCol="0" anchor="ctr"/>
          <a:lstStyle/>
          <a:p>
            <a:endParaRPr lang="en-US"/>
          </a:p>
        </p:txBody>
      </p:sp>
      <p:sp>
        <p:nvSpPr>
          <p:cNvPr id="26" name="Freeform: Shape 25">
            <a:extLst>
              <a:ext uri="{FF2B5EF4-FFF2-40B4-BE49-F238E27FC236}">
                <a16:creationId xmlns:a16="http://schemas.microsoft.com/office/drawing/2014/main" id="{7BD4DE07-B932-89CB-9DE4-3EE181C28533}"/>
              </a:ext>
            </a:extLst>
          </p:cNvPr>
          <p:cNvSpPr/>
          <p:nvPr/>
        </p:nvSpPr>
        <p:spPr>
          <a:xfrm>
            <a:off x="6053148" y="4738573"/>
            <a:ext cx="18752" cy="30076"/>
          </a:xfrm>
          <a:custGeom>
            <a:avLst/>
            <a:gdLst>
              <a:gd name="connsiteX0" fmla="*/ 9376 w 18752"/>
              <a:gd name="connsiteY0" fmla="*/ 30076 h 30076"/>
              <a:gd name="connsiteX1" fmla="*/ 18752 w 18752"/>
              <a:gd name="connsiteY1" fmla="*/ 20700 h 30076"/>
              <a:gd name="connsiteX2" fmla="*/ 18752 w 18752"/>
              <a:gd name="connsiteY2" fmla="*/ 9376 h 30076"/>
              <a:gd name="connsiteX3" fmla="*/ 9376 w 18752"/>
              <a:gd name="connsiteY3" fmla="*/ 0 h 30076"/>
              <a:gd name="connsiteX4" fmla="*/ 0 w 18752"/>
              <a:gd name="connsiteY4" fmla="*/ 9376 h 30076"/>
              <a:gd name="connsiteX5" fmla="*/ 0 w 18752"/>
              <a:gd name="connsiteY5" fmla="*/ 20700 h 30076"/>
              <a:gd name="connsiteX6" fmla="*/ 9376 w 18752"/>
              <a:gd name="connsiteY6" fmla="*/ 30076 h 30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52" h="30076">
                <a:moveTo>
                  <a:pt x="9376" y="30076"/>
                </a:moveTo>
                <a:cubicBezTo>
                  <a:pt x="14558" y="30076"/>
                  <a:pt x="18752" y="25882"/>
                  <a:pt x="18752" y="20700"/>
                </a:cubicBezTo>
                <a:lnTo>
                  <a:pt x="18752" y="9376"/>
                </a:lnTo>
                <a:cubicBezTo>
                  <a:pt x="18752" y="4199"/>
                  <a:pt x="14558" y="0"/>
                  <a:pt x="9376" y="0"/>
                </a:cubicBezTo>
                <a:cubicBezTo>
                  <a:pt x="4201" y="0"/>
                  <a:pt x="0" y="4199"/>
                  <a:pt x="0" y="9376"/>
                </a:cubicBezTo>
                <a:lnTo>
                  <a:pt x="0" y="20700"/>
                </a:lnTo>
                <a:cubicBezTo>
                  <a:pt x="0" y="25882"/>
                  <a:pt x="4201" y="30076"/>
                  <a:pt x="9376" y="30076"/>
                </a:cubicBezTo>
                <a:close/>
              </a:path>
            </a:pathLst>
          </a:custGeom>
          <a:solidFill>
            <a:srgbClr val="001965"/>
          </a:solidFill>
          <a:ln w="1246" cap="flat">
            <a:noFill/>
            <a:prstDash val="solid"/>
            <a:miter/>
          </a:ln>
        </p:spPr>
        <p:txBody>
          <a:bodyPr rtlCol="0" anchor="ctr"/>
          <a:lstStyle/>
          <a:p>
            <a:endParaRPr lang="en-US"/>
          </a:p>
        </p:txBody>
      </p:sp>
      <p:sp>
        <p:nvSpPr>
          <p:cNvPr id="32" name="Freeform: Shape 31">
            <a:extLst>
              <a:ext uri="{FF2B5EF4-FFF2-40B4-BE49-F238E27FC236}">
                <a16:creationId xmlns:a16="http://schemas.microsoft.com/office/drawing/2014/main" id="{6BECA235-444E-0D0E-1ED3-EC7685D30D1A}"/>
              </a:ext>
            </a:extLst>
          </p:cNvPr>
          <p:cNvSpPr/>
          <p:nvPr/>
        </p:nvSpPr>
        <p:spPr>
          <a:xfrm>
            <a:off x="5939345" y="4738578"/>
            <a:ext cx="18752" cy="30076"/>
          </a:xfrm>
          <a:custGeom>
            <a:avLst/>
            <a:gdLst>
              <a:gd name="connsiteX0" fmla="*/ 9376 w 18752"/>
              <a:gd name="connsiteY0" fmla="*/ 0 h 30076"/>
              <a:gd name="connsiteX1" fmla="*/ 0 w 18752"/>
              <a:gd name="connsiteY1" fmla="*/ 9376 h 30076"/>
              <a:gd name="connsiteX2" fmla="*/ 0 w 18752"/>
              <a:gd name="connsiteY2" fmla="*/ 20700 h 30076"/>
              <a:gd name="connsiteX3" fmla="*/ 9376 w 18752"/>
              <a:gd name="connsiteY3" fmla="*/ 30076 h 30076"/>
              <a:gd name="connsiteX4" fmla="*/ 18752 w 18752"/>
              <a:gd name="connsiteY4" fmla="*/ 20700 h 30076"/>
              <a:gd name="connsiteX5" fmla="*/ 18752 w 18752"/>
              <a:gd name="connsiteY5" fmla="*/ 9376 h 30076"/>
              <a:gd name="connsiteX6" fmla="*/ 9376 w 18752"/>
              <a:gd name="connsiteY6" fmla="*/ 0 h 30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52" h="30076">
                <a:moveTo>
                  <a:pt x="9376" y="0"/>
                </a:moveTo>
                <a:cubicBezTo>
                  <a:pt x="4201" y="0"/>
                  <a:pt x="0" y="4194"/>
                  <a:pt x="0" y="9376"/>
                </a:cubicBezTo>
                <a:lnTo>
                  <a:pt x="0" y="20700"/>
                </a:lnTo>
                <a:cubicBezTo>
                  <a:pt x="0" y="25877"/>
                  <a:pt x="4201" y="30076"/>
                  <a:pt x="9376" y="30076"/>
                </a:cubicBezTo>
                <a:cubicBezTo>
                  <a:pt x="14558" y="30076"/>
                  <a:pt x="18752" y="25877"/>
                  <a:pt x="18752" y="20700"/>
                </a:cubicBezTo>
                <a:lnTo>
                  <a:pt x="18752" y="9376"/>
                </a:lnTo>
                <a:cubicBezTo>
                  <a:pt x="18752" y="4194"/>
                  <a:pt x="14558" y="0"/>
                  <a:pt x="9376" y="0"/>
                </a:cubicBezTo>
                <a:close/>
              </a:path>
            </a:pathLst>
          </a:custGeom>
          <a:solidFill>
            <a:srgbClr val="001965"/>
          </a:solidFill>
          <a:ln w="1246" cap="flat">
            <a:noFill/>
            <a:prstDash val="solid"/>
            <a:miter/>
          </a:ln>
        </p:spPr>
        <p:txBody>
          <a:bodyPr rtlCol="0" anchor="ctr"/>
          <a:lstStyle/>
          <a:p>
            <a:endParaRPr lang="en-US"/>
          </a:p>
        </p:txBody>
      </p:sp>
      <p:sp>
        <p:nvSpPr>
          <p:cNvPr id="33" name="Freeform: Shape 32">
            <a:extLst>
              <a:ext uri="{FF2B5EF4-FFF2-40B4-BE49-F238E27FC236}">
                <a16:creationId xmlns:a16="http://schemas.microsoft.com/office/drawing/2014/main" id="{C7F0CC88-27B9-9586-4E4D-AA4731C57A43}"/>
              </a:ext>
            </a:extLst>
          </p:cNvPr>
          <p:cNvSpPr/>
          <p:nvPr/>
        </p:nvSpPr>
        <p:spPr>
          <a:xfrm>
            <a:off x="6229299" y="4890765"/>
            <a:ext cx="27898" cy="40503"/>
          </a:xfrm>
          <a:custGeom>
            <a:avLst/>
            <a:gdLst>
              <a:gd name="connsiteX0" fmla="*/ 12330 w 27898"/>
              <a:gd name="connsiteY0" fmla="*/ 40504 h 40503"/>
              <a:gd name="connsiteX1" fmla="*/ 18522 w 27898"/>
              <a:gd name="connsiteY1" fmla="*/ 40504 h 40503"/>
              <a:gd name="connsiteX2" fmla="*/ 27898 w 27898"/>
              <a:gd name="connsiteY2" fmla="*/ 31128 h 40503"/>
              <a:gd name="connsiteX3" fmla="*/ 18752 w 27898"/>
              <a:gd name="connsiteY3" fmla="*/ 21751 h 40503"/>
              <a:gd name="connsiteX4" fmla="*/ 18752 w 27898"/>
              <a:gd name="connsiteY4" fmla="*/ 9376 h 40503"/>
              <a:gd name="connsiteX5" fmla="*/ 9376 w 27898"/>
              <a:gd name="connsiteY5" fmla="*/ 0 h 40503"/>
              <a:gd name="connsiteX6" fmla="*/ 0 w 27898"/>
              <a:gd name="connsiteY6" fmla="*/ 9376 h 40503"/>
              <a:gd name="connsiteX7" fmla="*/ 0 w 27898"/>
              <a:gd name="connsiteY7" fmla="*/ 28172 h 40503"/>
              <a:gd name="connsiteX8" fmla="*/ 12330 w 27898"/>
              <a:gd name="connsiteY8" fmla="*/ 40504 h 405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898" h="40503">
                <a:moveTo>
                  <a:pt x="12330" y="40504"/>
                </a:moveTo>
                <a:lnTo>
                  <a:pt x="18522" y="40504"/>
                </a:lnTo>
                <a:cubicBezTo>
                  <a:pt x="23704" y="40504"/>
                  <a:pt x="27898" y="36303"/>
                  <a:pt x="27898" y="31128"/>
                </a:cubicBezTo>
                <a:cubicBezTo>
                  <a:pt x="27898" y="26024"/>
                  <a:pt x="23825" y="21873"/>
                  <a:pt x="18752" y="21751"/>
                </a:cubicBezTo>
                <a:lnTo>
                  <a:pt x="18752" y="9376"/>
                </a:lnTo>
                <a:cubicBezTo>
                  <a:pt x="18752" y="4199"/>
                  <a:pt x="14552" y="0"/>
                  <a:pt x="9376" y="0"/>
                </a:cubicBezTo>
                <a:cubicBezTo>
                  <a:pt x="4194" y="0"/>
                  <a:pt x="0" y="4199"/>
                  <a:pt x="0" y="9376"/>
                </a:cubicBezTo>
                <a:lnTo>
                  <a:pt x="0" y="28172"/>
                </a:lnTo>
                <a:cubicBezTo>
                  <a:pt x="0" y="34971"/>
                  <a:pt x="5533" y="40504"/>
                  <a:pt x="12330" y="40504"/>
                </a:cubicBezTo>
                <a:close/>
              </a:path>
            </a:pathLst>
          </a:custGeom>
          <a:solidFill>
            <a:srgbClr val="001965"/>
          </a:solidFill>
          <a:ln w="1246" cap="flat">
            <a:noFill/>
            <a:prstDash val="solid"/>
            <a:miter/>
          </a:ln>
        </p:spPr>
        <p:txBody>
          <a:bodyPr rtlCol="0" anchor="ctr"/>
          <a:lstStyle/>
          <a:p>
            <a:endParaRPr lang="en-US"/>
          </a:p>
        </p:txBody>
      </p:sp>
      <p:sp>
        <p:nvSpPr>
          <p:cNvPr id="35" name="Freeform: Shape 34">
            <a:extLst>
              <a:ext uri="{FF2B5EF4-FFF2-40B4-BE49-F238E27FC236}">
                <a16:creationId xmlns:a16="http://schemas.microsoft.com/office/drawing/2014/main" id="{249D4A6F-E74C-650A-30A5-4F42E4C06AFD}"/>
              </a:ext>
            </a:extLst>
          </p:cNvPr>
          <p:cNvSpPr/>
          <p:nvPr/>
        </p:nvSpPr>
        <p:spPr>
          <a:xfrm>
            <a:off x="6273992" y="4879444"/>
            <a:ext cx="18752" cy="24241"/>
          </a:xfrm>
          <a:custGeom>
            <a:avLst/>
            <a:gdLst>
              <a:gd name="connsiteX0" fmla="*/ 9376 w 18752"/>
              <a:gd name="connsiteY0" fmla="*/ 24242 h 24241"/>
              <a:gd name="connsiteX1" fmla="*/ 18752 w 18752"/>
              <a:gd name="connsiteY1" fmla="*/ 14866 h 24241"/>
              <a:gd name="connsiteX2" fmla="*/ 18752 w 18752"/>
              <a:gd name="connsiteY2" fmla="*/ 9376 h 24241"/>
              <a:gd name="connsiteX3" fmla="*/ 9376 w 18752"/>
              <a:gd name="connsiteY3" fmla="*/ 0 h 24241"/>
              <a:gd name="connsiteX4" fmla="*/ 0 w 18752"/>
              <a:gd name="connsiteY4" fmla="*/ 9376 h 24241"/>
              <a:gd name="connsiteX5" fmla="*/ 0 w 18752"/>
              <a:gd name="connsiteY5" fmla="*/ 14866 h 24241"/>
              <a:gd name="connsiteX6" fmla="*/ 9376 w 18752"/>
              <a:gd name="connsiteY6" fmla="*/ 24242 h 24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52" h="24241">
                <a:moveTo>
                  <a:pt x="9376" y="24242"/>
                </a:moveTo>
                <a:cubicBezTo>
                  <a:pt x="14557" y="24242"/>
                  <a:pt x="18752" y="20048"/>
                  <a:pt x="18752" y="14866"/>
                </a:cubicBezTo>
                <a:lnTo>
                  <a:pt x="18752" y="9376"/>
                </a:lnTo>
                <a:cubicBezTo>
                  <a:pt x="18752" y="4201"/>
                  <a:pt x="14557" y="0"/>
                  <a:pt x="9376" y="0"/>
                </a:cubicBezTo>
                <a:cubicBezTo>
                  <a:pt x="4199" y="0"/>
                  <a:pt x="0" y="4201"/>
                  <a:pt x="0" y="9376"/>
                </a:cubicBezTo>
                <a:lnTo>
                  <a:pt x="0" y="14866"/>
                </a:lnTo>
                <a:cubicBezTo>
                  <a:pt x="0" y="20048"/>
                  <a:pt x="4199" y="24242"/>
                  <a:pt x="9376" y="24242"/>
                </a:cubicBezTo>
                <a:close/>
              </a:path>
            </a:pathLst>
          </a:custGeom>
          <a:solidFill>
            <a:srgbClr val="001965"/>
          </a:solidFill>
          <a:ln w="1246" cap="flat">
            <a:noFill/>
            <a:prstDash val="solid"/>
            <a:miter/>
          </a:ln>
        </p:spPr>
        <p:txBody>
          <a:bodyPr rtlCol="0" anchor="ctr"/>
          <a:lstStyle/>
          <a:p>
            <a:endParaRPr lang="en-US"/>
          </a:p>
        </p:txBody>
      </p:sp>
      <p:sp>
        <p:nvSpPr>
          <p:cNvPr id="36" name="Freeform: Shape 35">
            <a:extLst>
              <a:ext uri="{FF2B5EF4-FFF2-40B4-BE49-F238E27FC236}">
                <a16:creationId xmlns:a16="http://schemas.microsoft.com/office/drawing/2014/main" id="{B51D7076-051C-1ECD-6772-17E266628112}"/>
              </a:ext>
            </a:extLst>
          </p:cNvPr>
          <p:cNvSpPr/>
          <p:nvPr/>
        </p:nvSpPr>
        <p:spPr>
          <a:xfrm>
            <a:off x="6187941" y="4879444"/>
            <a:ext cx="18752" cy="24241"/>
          </a:xfrm>
          <a:custGeom>
            <a:avLst/>
            <a:gdLst>
              <a:gd name="connsiteX0" fmla="*/ 18752 w 18752"/>
              <a:gd name="connsiteY0" fmla="*/ 14866 h 24241"/>
              <a:gd name="connsiteX1" fmla="*/ 18752 w 18752"/>
              <a:gd name="connsiteY1" fmla="*/ 9376 h 24241"/>
              <a:gd name="connsiteX2" fmla="*/ 9376 w 18752"/>
              <a:gd name="connsiteY2" fmla="*/ 0 h 24241"/>
              <a:gd name="connsiteX3" fmla="*/ 0 w 18752"/>
              <a:gd name="connsiteY3" fmla="*/ 9376 h 24241"/>
              <a:gd name="connsiteX4" fmla="*/ 0 w 18752"/>
              <a:gd name="connsiteY4" fmla="*/ 14866 h 24241"/>
              <a:gd name="connsiteX5" fmla="*/ 9376 w 18752"/>
              <a:gd name="connsiteY5" fmla="*/ 24242 h 24241"/>
              <a:gd name="connsiteX6" fmla="*/ 18752 w 18752"/>
              <a:gd name="connsiteY6" fmla="*/ 14866 h 242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8752" h="24241">
                <a:moveTo>
                  <a:pt x="18752" y="14866"/>
                </a:moveTo>
                <a:lnTo>
                  <a:pt x="18752" y="9376"/>
                </a:lnTo>
                <a:cubicBezTo>
                  <a:pt x="18752" y="4201"/>
                  <a:pt x="14557" y="0"/>
                  <a:pt x="9376" y="0"/>
                </a:cubicBezTo>
                <a:cubicBezTo>
                  <a:pt x="4199" y="0"/>
                  <a:pt x="0" y="4201"/>
                  <a:pt x="0" y="9376"/>
                </a:cubicBezTo>
                <a:lnTo>
                  <a:pt x="0" y="14866"/>
                </a:lnTo>
                <a:cubicBezTo>
                  <a:pt x="0" y="20048"/>
                  <a:pt x="4199" y="24242"/>
                  <a:pt x="9376" y="24242"/>
                </a:cubicBezTo>
                <a:cubicBezTo>
                  <a:pt x="14557" y="24242"/>
                  <a:pt x="18752" y="20048"/>
                  <a:pt x="18752" y="14866"/>
                </a:cubicBezTo>
                <a:close/>
              </a:path>
            </a:pathLst>
          </a:custGeom>
          <a:solidFill>
            <a:srgbClr val="001965"/>
          </a:solidFill>
          <a:ln w="1246" cap="flat">
            <a:noFill/>
            <a:prstDash val="solid"/>
            <a:miter/>
          </a:ln>
        </p:spPr>
        <p:txBody>
          <a:bodyPr rtlCol="0" anchor="ctr"/>
          <a:lstStyle/>
          <a:p>
            <a:endParaRPr lang="en-US"/>
          </a:p>
        </p:txBody>
      </p:sp>
      <p:sp>
        <p:nvSpPr>
          <p:cNvPr id="37" name="Freeform: Shape 36">
            <a:extLst>
              <a:ext uri="{FF2B5EF4-FFF2-40B4-BE49-F238E27FC236}">
                <a16:creationId xmlns:a16="http://schemas.microsoft.com/office/drawing/2014/main" id="{E8BF1F6D-D100-4C2F-E042-162B49F3ABF2}"/>
              </a:ext>
            </a:extLst>
          </p:cNvPr>
          <p:cNvSpPr/>
          <p:nvPr/>
        </p:nvSpPr>
        <p:spPr>
          <a:xfrm>
            <a:off x="5776259" y="4571824"/>
            <a:ext cx="639806" cy="640080"/>
          </a:xfrm>
          <a:custGeom>
            <a:avLst/>
            <a:gdLst>
              <a:gd name="connsiteX0" fmla="*/ 599255 w 639806"/>
              <a:gd name="connsiteY0" fmla="*/ 473834 h 640080"/>
              <a:gd name="connsiteX1" fmla="*/ 586728 w 639806"/>
              <a:gd name="connsiteY1" fmla="*/ 478185 h 640080"/>
              <a:gd name="connsiteX2" fmla="*/ 591080 w 639806"/>
              <a:gd name="connsiteY2" fmla="*/ 490711 h 640080"/>
              <a:gd name="connsiteX3" fmla="*/ 621054 w 639806"/>
              <a:gd name="connsiteY3" fmla="*/ 526760 h 640080"/>
              <a:gd name="connsiteX4" fmla="*/ 621054 w 639806"/>
              <a:gd name="connsiteY4" fmla="*/ 621328 h 640080"/>
              <a:gd name="connsiteX5" fmla="*/ 587290 w 639806"/>
              <a:gd name="connsiteY5" fmla="*/ 621328 h 640080"/>
              <a:gd name="connsiteX6" fmla="*/ 587290 w 639806"/>
              <a:gd name="connsiteY6" fmla="*/ 562805 h 640080"/>
              <a:gd name="connsiteX7" fmla="*/ 577914 w 639806"/>
              <a:gd name="connsiteY7" fmla="*/ 553429 h 640080"/>
              <a:gd name="connsiteX8" fmla="*/ 568537 w 639806"/>
              <a:gd name="connsiteY8" fmla="*/ 562805 h 640080"/>
              <a:gd name="connsiteX9" fmla="*/ 568537 w 639806"/>
              <a:gd name="connsiteY9" fmla="*/ 621328 h 640080"/>
              <a:gd name="connsiteX10" fmla="*/ 359635 w 639806"/>
              <a:gd name="connsiteY10" fmla="*/ 621328 h 640080"/>
              <a:gd name="connsiteX11" fmla="*/ 359635 w 639806"/>
              <a:gd name="connsiteY11" fmla="*/ 562805 h 640080"/>
              <a:gd name="connsiteX12" fmla="*/ 350259 w 639806"/>
              <a:gd name="connsiteY12" fmla="*/ 553429 h 640080"/>
              <a:gd name="connsiteX13" fmla="*/ 340883 w 639806"/>
              <a:gd name="connsiteY13" fmla="*/ 562805 h 640080"/>
              <a:gd name="connsiteX14" fmla="*/ 340883 w 639806"/>
              <a:gd name="connsiteY14" fmla="*/ 621328 h 640080"/>
              <a:gd name="connsiteX15" fmla="*/ 307118 w 639806"/>
              <a:gd name="connsiteY15" fmla="*/ 621328 h 640080"/>
              <a:gd name="connsiteX16" fmla="*/ 307118 w 639806"/>
              <a:gd name="connsiteY16" fmla="*/ 526760 h 640080"/>
              <a:gd name="connsiteX17" fmla="*/ 330999 w 639806"/>
              <a:gd name="connsiteY17" fmla="*/ 493630 h 640080"/>
              <a:gd name="connsiteX18" fmla="*/ 393804 w 639806"/>
              <a:gd name="connsiteY18" fmla="*/ 470171 h 640080"/>
              <a:gd name="connsiteX19" fmla="*/ 415037 w 639806"/>
              <a:gd name="connsiteY19" fmla="*/ 491038 h 640080"/>
              <a:gd name="connsiteX20" fmla="*/ 464087 w 639806"/>
              <a:gd name="connsiteY20" fmla="*/ 501913 h 640080"/>
              <a:gd name="connsiteX21" fmla="*/ 513130 w 639806"/>
              <a:gd name="connsiteY21" fmla="*/ 491038 h 640080"/>
              <a:gd name="connsiteX22" fmla="*/ 534364 w 639806"/>
              <a:gd name="connsiteY22" fmla="*/ 470171 h 640080"/>
              <a:gd name="connsiteX23" fmla="*/ 551959 w 639806"/>
              <a:gd name="connsiteY23" fmla="*/ 475138 h 640080"/>
              <a:gd name="connsiteX24" fmla="*/ 563728 w 639806"/>
              <a:gd name="connsiteY24" fmla="*/ 469029 h 640080"/>
              <a:gd name="connsiteX25" fmla="*/ 557618 w 639806"/>
              <a:gd name="connsiteY25" fmla="*/ 457260 h 640080"/>
              <a:gd name="connsiteX26" fmla="*/ 522795 w 639806"/>
              <a:gd name="connsiteY26" fmla="*/ 448420 h 640080"/>
              <a:gd name="connsiteX27" fmla="*/ 509249 w 639806"/>
              <a:gd name="connsiteY27" fmla="*/ 431016 h 640080"/>
              <a:gd name="connsiteX28" fmla="*/ 521305 w 639806"/>
              <a:gd name="connsiteY28" fmla="*/ 423862 h 640080"/>
              <a:gd name="connsiteX29" fmla="*/ 557501 w 639806"/>
              <a:gd name="connsiteY29" fmla="*/ 359059 h 640080"/>
              <a:gd name="connsiteX30" fmla="*/ 582099 w 639806"/>
              <a:gd name="connsiteY30" fmla="*/ 330070 h 640080"/>
              <a:gd name="connsiteX31" fmla="*/ 582099 w 639806"/>
              <a:gd name="connsiteY31" fmla="*/ 320616 h 640080"/>
              <a:gd name="connsiteX32" fmla="*/ 573245 w 639806"/>
              <a:gd name="connsiteY32" fmla="*/ 299612 h 640080"/>
              <a:gd name="connsiteX33" fmla="*/ 573245 w 639806"/>
              <a:gd name="connsiteY33" fmla="*/ 279679 h 640080"/>
              <a:gd name="connsiteX34" fmla="*/ 484279 w 639806"/>
              <a:gd name="connsiteY34" fmla="*/ 190718 h 640080"/>
              <a:gd name="connsiteX35" fmla="*/ 443888 w 639806"/>
              <a:gd name="connsiteY35" fmla="*/ 190718 h 640080"/>
              <a:gd name="connsiteX36" fmla="*/ 354922 w 639806"/>
              <a:gd name="connsiteY36" fmla="*/ 279679 h 640080"/>
              <a:gd name="connsiteX37" fmla="*/ 354922 w 639806"/>
              <a:gd name="connsiteY37" fmla="*/ 299612 h 640080"/>
              <a:gd name="connsiteX38" fmla="*/ 346068 w 639806"/>
              <a:gd name="connsiteY38" fmla="*/ 320616 h 640080"/>
              <a:gd name="connsiteX39" fmla="*/ 346068 w 639806"/>
              <a:gd name="connsiteY39" fmla="*/ 330070 h 640080"/>
              <a:gd name="connsiteX40" fmla="*/ 370989 w 639806"/>
              <a:gd name="connsiteY40" fmla="*/ 359107 h 640080"/>
              <a:gd name="connsiteX41" fmla="*/ 375511 w 639806"/>
              <a:gd name="connsiteY41" fmla="*/ 380854 h 640080"/>
              <a:gd name="connsiteX42" fmla="*/ 345219 w 639806"/>
              <a:gd name="connsiteY42" fmla="*/ 370544 h 640080"/>
              <a:gd name="connsiteX43" fmla="*/ 312144 w 639806"/>
              <a:gd name="connsiteY43" fmla="*/ 346166 h 640080"/>
              <a:gd name="connsiteX44" fmla="*/ 286071 w 639806"/>
              <a:gd name="connsiteY44" fmla="*/ 343178 h 640080"/>
              <a:gd name="connsiteX45" fmla="*/ 286071 w 639806"/>
              <a:gd name="connsiteY45" fmla="*/ 327507 h 640080"/>
              <a:gd name="connsiteX46" fmla="*/ 310644 w 639806"/>
              <a:gd name="connsiteY46" fmla="*/ 306201 h 640080"/>
              <a:gd name="connsiteX47" fmla="*/ 350371 w 639806"/>
              <a:gd name="connsiteY47" fmla="*/ 223007 h 640080"/>
              <a:gd name="connsiteX48" fmla="*/ 386171 w 639806"/>
              <a:gd name="connsiteY48" fmla="*/ 187186 h 640080"/>
              <a:gd name="connsiteX49" fmla="*/ 386171 w 639806"/>
              <a:gd name="connsiteY49" fmla="*/ 174681 h 640080"/>
              <a:gd name="connsiteX50" fmla="*/ 380278 w 639806"/>
              <a:gd name="connsiteY50" fmla="*/ 155009 h 640080"/>
              <a:gd name="connsiteX51" fmla="*/ 380278 w 639806"/>
              <a:gd name="connsiteY51" fmla="*/ 86935 h 640080"/>
              <a:gd name="connsiteX52" fmla="*/ 371189 w 639806"/>
              <a:gd name="connsiteY52" fmla="*/ 60984 h 640080"/>
              <a:gd name="connsiteX53" fmla="*/ 375862 w 639806"/>
              <a:gd name="connsiteY53" fmla="*/ 33945 h 640080"/>
              <a:gd name="connsiteX54" fmla="*/ 375862 w 639806"/>
              <a:gd name="connsiteY54" fmla="*/ 12658 h 640080"/>
              <a:gd name="connsiteX55" fmla="*/ 363204 w 639806"/>
              <a:gd name="connsiteY55" fmla="*/ 0 h 640080"/>
              <a:gd name="connsiteX56" fmla="*/ 165236 w 639806"/>
              <a:gd name="connsiteY56" fmla="*/ 0 h 640080"/>
              <a:gd name="connsiteX57" fmla="*/ 109320 w 639806"/>
              <a:gd name="connsiteY57" fmla="*/ 46842 h 640080"/>
              <a:gd name="connsiteX58" fmla="*/ 78457 w 639806"/>
              <a:gd name="connsiteY58" fmla="*/ 86935 h 640080"/>
              <a:gd name="connsiteX59" fmla="*/ 78457 w 639806"/>
              <a:gd name="connsiteY59" fmla="*/ 155004 h 640080"/>
              <a:gd name="connsiteX60" fmla="*/ 72558 w 639806"/>
              <a:gd name="connsiteY60" fmla="*/ 174681 h 640080"/>
              <a:gd name="connsiteX61" fmla="*/ 72558 w 639806"/>
              <a:gd name="connsiteY61" fmla="*/ 187186 h 640080"/>
              <a:gd name="connsiteX62" fmla="*/ 108764 w 639806"/>
              <a:gd name="connsiteY62" fmla="*/ 223007 h 640080"/>
              <a:gd name="connsiteX63" fmla="*/ 149061 w 639806"/>
              <a:gd name="connsiteY63" fmla="*/ 306728 h 640080"/>
              <a:gd name="connsiteX64" fmla="*/ 172658 w 639806"/>
              <a:gd name="connsiteY64" fmla="*/ 327077 h 640080"/>
              <a:gd name="connsiteX65" fmla="*/ 172658 w 639806"/>
              <a:gd name="connsiteY65" fmla="*/ 343163 h 640080"/>
              <a:gd name="connsiteX66" fmla="*/ 146615 w 639806"/>
              <a:gd name="connsiteY66" fmla="*/ 346171 h 640080"/>
              <a:gd name="connsiteX67" fmla="*/ 113593 w 639806"/>
              <a:gd name="connsiteY67" fmla="*/ 370500 h 640080"/>
              <a:gd name="connsiteX68" fmla="*/ 45191 w 639806"/>
              <a:gd name="connsiteY68" fmla="*/ 397755 h 640080"/>
              <a:gd name="connsiteX69" fmla="*/ 0 w 639806"/>
              <a:gd name="connsiteY69" fmla="*/ 471378 h 640080"/>
              <a:gd name="connsiteX70" fmla="*/ 0 w 639806"/>
              <a:gd name="connsiteY70" fmla="*/ 482824 h 640080"/>
              <a:gd name="connsiteX71" fmla="*/ 9376 w 639806"/>
              <a:gd name="connsiteY71" fmla="*/ 492200 h 640080"/>
              <a:gd name="connsiteX72" fmla="*/ 18752 w 639806"/>
              <a:gd name="connsiteY72" fmla="*/ 482824 h 640080"/>
              <a:gd name="connsiteX73" fmla="*/ 18752 w 639806"/>
              <a:gd name="connsiteY73" fmla="*/ 471378 h 640080"/>
              <a:gd name="connsiteX74" fmla="*/ 53679 w 639806"/>
              <a:gd name="connsiteY74" fmla="*/ 414476 h 640080"/>
              <a:gd name="connsiteX75" fmla="*/ 114043 w 639806"/>
              <a:gd name="connsiteY75" fmla="*/ 389961 h 640080"/>
              <a:gd name="connsiteX76" fmla="*/ 150654 w 639806"/>
              <a:gd name="connsiteY76" fmla="*/ 441174 h 640080"/>
              <a:gd name="connsiteX77" fmla="*/ 176423 w 639806"/>
              <a:gd name="connsiteY77" fmla="*/ 446452 h 640080"/>
              <a:gd name="connsiteX78" fmla="*/ 229379 w 639806"/>
              <a:gd name="connsiteY78" fmla="*/ 414281 h 640080"/>
              <a:gd name="connsiteX79" fmla="*/ 282335 w 639806"/>
              <a:gd name="connsiteY79" fmla="*/ 446452 h 640080"/>
              <a:gd name="connsiteX80" fmla="*/ 308110 w 639806"/>
              <a:gd name="connsiteY80" fmla="*/ 441174 h 640080"/>
              <a:gd name="connsiteX81" fmla="*/ 344702 w 639806"/>
              <a:gd name="connsiteY81" fmla="*/ 389985 h 640080"/>
              <a:gd name="connsiteX82" fmla="*/ 390869 w 639806"/>
              <a:gd name="connsiteY82" fmla="*/ 407643 h 640080"/>
              <a:gd name="connsiteX83" fmla="*/ 407405 w 639806"/>
              <a:gd name="connsiteY83" fmla="*/ 422704 h 640080"/>
              <a:gd name="connsiteX84" fmla="*/ 418920 w 639806"/>
              <a:gd name="connsiteY84" fmla="*/ 429815 h 640080"/>
              <a:gd name="connsiteX85" fmla="*/ 405373 w 639806"/>
              <a:gd name="connsiteY85" fmla="*/ 448416 h 640080"/>
              <a:gd name="connsiteX86" fmla="*/ 324382 w 639806"/>
              <a:gd name="connsiteY86" fmla="*/ 476076 h 640080"/>
              <a:gd name="connsiteX87" fmla="*/ 288366 w 639806"/>
              <a:gd name="connsiteY87" fmla="*/ 526760 h 640080"/>
              <a:gd name="connsiteX88" fmla="*/ 288366 w 639806"/>
              <a:gd name="connsiteY88" fmla="*/ 621328 h 640080"/>
              <a:gd name="connsiteX89" fmla="*/ 88204 w 639806"/>
              <a:gd name="connsiteY89" fmla="*/ 621328 h 640080"/>
              <a:gd name="connsiteX90" fmla="*/ 88204 w 639806"/>
              <a:gd name="connsiteY90" fmla="*/ 546885 h 640080"/>
              <a:gd name="connsiteX91" fmla="*/ 78828 w 639806"/>
              <a:gd name="connsiteY91" fmla="*/ 537508 h 640080"/>
              <a:gd name="connsiteX92" fmla="*/ 69452 w 639806"/>
              <a:gd name="connsiteY92" fmla="*/ 546885 h 640080"/>
              <a:gd name="connsiteX93" fmla="*/ 69452 w 639806"/>
              <a:gd name="connsiteY93" fmla="*/ 621328 h 640080"/>
              <a:gd name="connsiteX94" fmla="*/ 18752 w 639806"/>
              <a:gd name="connsiteY94" fmla="*/ 621328 h 640080"/>
              <a:gd name="connsiteX95" fmla="*/ 18752 w 639806"/>
              <a:gd name="connsiteY95" fmla="*/ 526687 h 640080"/>
              <a:gd name="connsiteX96" fmla="*/ 9376 w 639806"/>
              <a:gd name="connsiteY96" fmla="*/ 517311 h 640080"/>
              <a:gd name="connsiteX97" fmla="*/ 0 w 639806"/>
              <a:gd name="connsiteY97" fmla="*/ 526687 h 640080"/>
              <a:gd name="connsiteX98" fmla="*/ 0 w 639806"/>
              <a:gd name="connsiteY98" fmla="*/ 622568 h 640080"/>
              <a:gd name="connsiteX99" fmla="*/ 17512 w 639806"/>
              <a:gd name="connsiteY99" fmla="*/ 640080 h 640080"/>
              <a:gd name="connsiteX100" fmla="*/ 622294 w 639806"/>
              <a:gd name="connsiteY100" fmla="*/ 640080 h 640080"/>
              <a:gd name="connsiteX101" fmla="*/ 639806 w 639806"/>
              <a:gd name="connsiteY101" fmla="*/ 622568 h 640080"/>
              <a:gd name="connsiteX102" fmla="*/ 639806 w 639806"/>
              <a:gd name="connsiteY102" fmla="*/ 526760 h 640080"/>
              <a:gd name="connsiteX103" fmla="*/ 627363 w 639806"/>
              <a:gd name="connsiteY103" fmla="*/ 492772 h 640080"/>
              <a:gd name="connsiteX104" fmla="*/ 599255 w 639806"/>
              <a:gd name="connsiteY104" fmla="*/ 473834 h 640080"/>
              <a:gd name="connsiteX105" fmla="*/ 367418 w 639806"/>
              <a:gd name="connsiteY105" fmla="*/ 187186 h 640080"/>
              <a:gd name="connsiteX106" fmla="*/ 350371 w 639806"/>
              <a:gd name="connsiteY106" fmla="*/ 204254 h 640080"/>
              <a:gd name="connsiteX107" fmla="*/ 350313 w 639806"/>
              <a:gd name="connsiteY107" fmla="*/ 204254 h 640080"/>
              <a:gd name="connsiteX108" fmla="*/ 350171 w 639806"/>
              <a:gd name="connsiteY108" fmla="*/ 157607 h 640080"/>
              <a:gd name="connsiteX109" fmla="*/ 367418 w 639806"/>
              <a:gd name="connsiteY109" fmla="*/ 174676 h 640080"/>
              <a:gd name="connsiteX110" fmla="*/ 361525 w 639806"/>
              <a:gd name="connsiteY110" fmla="*/ 140638 h 640080"/>
              <a:gd name="connsiteX111" fmla="*/ 348437 w 639806"/>
              <a:gd name="connsiteY111" fmla="*/ 138860 h 640080"/>
              <a:gd name="connsiteX112" fmla="*/ 328010 w 639806"/>
              <a:gd name="connsiteY112" fmla="*/ 107509 h 640080"/>
              <a:gd name="connsiteX113" fmla="*/ 360709 w 639806"/>
              <a:gd name="connsiteY113" fmla="*/ 80899 h 640080"/>
              <a:gd name="connsiteX114" fmla="*/ 361525 w 639806"/>
              <a:gd name="connsiteY114" fmla="*/ 140638 h 640080"/>
              <a:gd name="connsiteX115" fmla="*/ 118633 w 639806"/>
              <a:gd name="connsiteY115" fmla="*/ 64149 h 640080"/>
              <a:gd name="connsiteX116" fmla="*/ 127242 w 639806"/>
              <a:gd name="connsiteY116" fmla="*/ 55192 h 640080"/>
              <a:gd name="connsiteX117" fmla="*/ 165236 w 639806"/>
              <a:gd name="connsiteY117" fmla="*/ 18752 h 640080"/>
              <a:gd name="connsiteX118" fmla="*/ 357110 w 639806"/>
              <a:gd name="connsiteY118" fmla="*/ 18752 h 640080"/>
              <a:gd name="connsiteX119" fmla="*/ 357110 w 639806"/>
              <a:gd name="connsiteY119" fmla="*/ 33945 h 640080"/>
              <a:gd name="connsiteX120" fmla="*/ 295383 w 639806"/>
              <a:gd name="connsiteY120" fmla="*/ 95671 h 640080"/>
              <a:gd name="connsiteX121" fmla="*/ 165782 w 639806"/>
              <a:gd name="connsiteY121" fmla="*/ 95671 h 640080"/>
              <a:gd name="connsiteX122" fmla="*/ 144422 w 639806"/>
              <a:gd name="connsiteY122" fmla="*/ 115932 h 640080"/>
              <a:gd name="connsiteX123" fmla="*/ 117905 w 639806"/>
              <a:gd name="connsiteY123" fmla="*/ 138860 h 640080"/>
              <a:gd name="connsiteX124" fmla="*/ 97209 w 639806"/>
              <a:gd name="connsiteY124" fmla="*/ 140638 h 640080"/>
              <a:gd name="connsiteX125" fmla="*/ 97209 w 639806"/>
              <a:gd name="connsiteY125" fmla="*/ 86935 h 640080"/>
              <a:gd name="connsiteX126" fmla="*/ 118633 w 639806"/>
              <a:gd name="connsiteY126" fmla="*/ 64149 h 640080"/>
              <a:gd name="connsiteX127" fmla="*/ 108705 w 639806"/>
              <a:gd name="connsiteY127" fmla="*/ 204254 h 640080"/>
              <a:gd name="connsiteX128" fmla="*/ 91310 w 639806"/>
              <a:gd name="connsiteY128" fmla="*/ 187186 h 640080"/>
              <a:gd name="connsiteX129" fmla="*/ 91310 w 639806"/>
              <a:gd name="connsiteY129" fmla="*/ 174681 h 640080"/>
              <a:gd name="connsiteX130" fmla="*/ 108563 w 639806"/>
              <a:gd name="connsiteY130" fmla="*/ 157612 h 640080"/>
              <a:gd name="connsiteX131" fmla="*/ 127536 w 639806"/>
              <a:gd name="connsiteY131" fmla="*/ 228169 h 640080"/>
              <a:gd name="connsiteX132" fmla="*/ 127311 w 639806"/>
              <a:gd name="connsiteY132" fmla="*/ 156523 h 640080"/>
              <a:gd name="connsiteX133" fmla="*/ 162964 w 639806"/>
              <a:gd name="connsiteY133" fmla="*/ 118902 h 640080"/>
              <a:gd name="connsiteX134" fmla="*/ 165777 w 639806"/>
              <a:gd name="connsiteY134" fmla="*/ 114423 h 640080"/>
              <a:gd name="connsiteX135" fmla="*/ 295882 w 639806"/>
              <a:gd name="connsiteY135" fmla="*/ 114423 h 640080"/>
              <a:gd name="connsiteX136" fmla="*/ 331218 w 639806"/>
              <a:gd name="connsiteY136" fmla="*/ 149130 h 640080"/>
              <a:gd name="connsiteX137" fmla="*/ 331633 w 639806"/>
              <a:gd name="connsiteY137" fmla="*/ 227460 h 640080"/>
              <a:gd name="connsiteX138" fmla="*/ 297396 w 639806"/>
              <a:gd name="connsiteY138" fmla="*/ 292932 h 640080"/>
              <a:gd name="connsiteX139" fmla="*/ 229931 w 639806"/>
              <a:gd name="connsiteY139" fmla="*/ 328342 h 640080"/>
              <a:gd name="connsiteX140" fmla="*/ 162218 w 639806"/>
              <a:gd name="connsiteY140" fmla="*/ 293367 h 640080"/>
              <a:gd name="connsiteX141" fmla="*/ 127536 w 639806"/>
              <a:gd name="connsiteY141" fmla="*/ 228169 h 640080"/>
              <a:gd name="connsiteX142" fmla="*/ 229882 w 639806"/>
              <a:gd name="connsiteY142" fmla="*/ 347095 h 640080"/>
              <a:gd name="connsiteX143" fmla="*/ 229960 w 639806"/>
              <a:gd name="connsiteY143" fmla="*/ 347095 h 640080"/>
              <a:gd name="connsiteX144" fmla="*/ 230108 w 639806"/>
              <a:gd name="connsiteY144" fmla="*/ 347095 h 640080"/>
              <a:gd name="connsiteX145" fmla="*/ 267318 w 639806"/>
              <a:gd name="connsiteY145" fmla="*/ 338524 h 640080"/>
              <a:gd name="connsiteX146" fmla="*/ 267318 w 639806"/>
              <a:gd name="connsiteY146" fmla="*/ 357872 h 640080"/>
              <a:gd name="connsiteX147" fmla="*/ 229379 w 639806"/>
              <a:gd name="connsiteY147" fmla="*/ 390864 h 640080"/>
              <a:gd name="connsiteX148" fmla="*/ 191410 w 639806"/>
              <a:gd name="connsiteY148" fmla="*/ 357847 h 640080"/>
              <a:gd name="connsiteX149" fmla="*/ 191410 w 639806"/>
              <a:gd name="connsiteY149" fmla="*/ 338216 h 640080"/>
              <a:gd name="connsiteX150" fmla="*/ 229882 w 639806"/>
              <a:gd name="connsiteY150" fmla="*/ 347095 h 640080"/>
              <a:gd name="connsiteX151" fmla="*/ 166691 w 639806"/>
              <a:gd name="connsiteY151" fmla="*/ 430425 h 640080"/>
              <a:gd name="connsiteX152" fmla="*/ 165909 w 639806"/>
              <a:gd name="connsiteY152" fmla="*/ 430264 h 640080"/>
              <a:gd name="connsiteX153" fmla="*/ 130778 w 639806"/>
              <a:gd name="connsiteY153" fmla="*/ 381131 h 640080"/>
              <a:gd name="connsiteX154" fmla="*/ 157740 w 639806"/>
              <a:gd name="connsiteY154" fmla="*/ 361266 h 640080"/>
              <a:gd name="connsiteX155" fmla="*/ 167208 w 639806"/>
              <a:gd name="connsiteY155" fmla="*/ 361646 h 640080"/>
              <a:gd name="connsiteX156" fmla="*/ 167203 w 639806"/>
              <a:gd name="connsiteY156" fmla="*/ 361646 h 640080"/>
              <a:gd name="connsiteX157" fmla="*/ 213552 w 639806"/>
              <a:gd name="connsiteY157" fmla="*/ 401950 h 640080"/>
              <a:gd name="connsiteX158" fmla="*/ 292854 w 639806"/>
              <a:gd name="connsiteY158" fmla="*/ 430264 h 640080"/>
              <a:gd name="connsiteX159" fmla="*/ 292073 w 639806"/>
              <a:gd name="connsiteY159" fmla="*/ 430425 h 640080"/>
              <a:gd name="connsiteX160" fmla="*/ 245207 w 639806"/>
              <a:gd name="connsiteY160" fmla="*/ 401954 h 640080"/>
              <a:gd name="connsiteX161" fmla="*/ 291550 w 639806"/>
              <a:gd name="connsiteY161" fmla="*/ 361646 h 640080"/>
              <a:gd name="connsiteX162" fmla="*/ 301019 w 639806"/>
              <a:gd name="connsiteY162" fmla="*/ 361266 h 640080"/>
              <a:gd name="connsiteX163" fmla="*/ 327981 w 639806"/>
              <a:gd name="connsiteY163" fmla="*/ 381131 h 640080"/>
              <a:gd name="connsiteX164" fmla="*/ 563347 w 639806"/>
              <a:gd name="connsiteY164" fmla="*/ 330070 h 640080"/>
              <a:gd name="connsiteX165" fmla="*/ 557833 w 639806"/>
              <a:gd name="connsiteY165" fmla="*/ 339384 h 640080"/>
              <a:gd name="connsiteX166" fmla="*/ 557716 w 639806"/>
              <a:gd name="connsiteY166" fmla="*/ 311235 h 640080"/>
              <a:gd name="connsiteX167" fmla="*/ 563352 w 639806"/>
              <a:gd name="connsiteY167" fmla="*/ 320611 h 640080"/>
              <a:gd name="connsiteX168" fmla="*/ 563352 w 639806"/>
              <a:gd name="connsiteY168" fmla="*/ 330070 h 640080"/>
              <a:gd name="connsiteX169" fmla="*/ 443888 w 639806"/>
              <a:gd name="connsiteY169" fmla="*/ 209465 h 640080"/>
              <a:gd name="connsiteX170" fmla="*/ 484284 w 639806"/>
              <a:gd name="connsiteY170" fmla="*/ 209465 h 640080"/>
              <a:gd name="connsiteX171" fmla="*/ 554493 w 639806"/>
              <a:gd name="connsiteY171" fmla="*/ 279679 h 640080"/>
              <a:gd name="connsiteX172" fmla="*/ 554493 w 639806"/>
              <a:gd name="connsiteY172" fmla="*/ 289181 h 640080"/>
              <a:gd name="connsiteX173" fmla="*/ 539306 w 639806"/>
              <a:gd name="connsiteY173" fmla="*/ 281636 h 640080"/>
              <a:gd name="connsiteX174" fmla="*/ 506006 w 639806"/>
              <a:gd name="connsiteY174" fmla="*/ 256380 h 640080"/>
              <a:gd name="connsiteX175" fmla="*/ 495623 w 639806"/>
              <a:gd name="connsiteY175" fmla="*/ 250564 h 640080"/>
              <a:gd name="connsiteX176" fmla="*/ 484587 w 639806"/>
              <a:gd name="connsiteY176" fmla="*/ 255252 h 640080"/>
              <a:gd name="connsiteX177" fmla="*/ 392662 w 639806"/>
              <a:gd name="connsiteY177" fmla="*/ 280435 h 640080"/>
              <a:gd name="connsiteX178" fmla="*/ 373679 w 639806"/>
              <a:gd name="connsiteY178" fmla="*/ 288499 h 640080"/>
              <a:gd name="connsiteX179" fmla="*/ 373679 w 639806"/>
              <a:gd name="connsiteY179" fmla="*/ 279684 h 640080"/>
              <a:gd name="connsiteX180" fmla="*/ 443888 w 639806"/>
              <a:gd name="connsiteY180" fmla="*/ 209465 h 640080"/>
              <a:gd name="connsiteX181" fmla="*/ 364821 w 639806"/>
              <a:gd name="connsiteY181" fmla="*/ 330070 h 640080"/>
              <a:gd name="connsiteX182" fmla="*/ 364821 w 639806"/>
              <a:gd name="connsiteY182" fmla="*/ 320616 h 640080"/>
              <a:gd name="connsiteX183" fmla="*/ 370438 w 639806"/>
              <a:gd name="connsiteY183" fmla="*/ 311250 h 640080"/>
              <a:gd name="connsiteX184" fmla="*/ 370569 w 639806"/>
              <a:gd name="connsiteY184" fmla="*/ 339510 h 640080"/>
              <a:gd name="connsiteX185" fmla="*/ 364821 w 639806"/>
              <a:gd name="connsiteY185" fmla="*/ 330070 h 640080"/>
              <a:gd name="connsiteX186" fmla="*/ 389370 w 639806"/>
              <a:gd name="connsiteY186" fmla="*/ 350234 h 640080"/>
              <a:gd name="connsiteX187" fmla="*/ 389131 w 639806"/>
              <a:gd name="connsiteY187" fmla="*/ 299222 h 640080"/>
              <a:gd name="connsiteX188" fmla="*/ 389242 w 639806"/>
              <a:gd name="connsiteY188" fmla="*/ 298977 h 640080"/>
              <a:gd name="connsiteX189" fmla="*/ 389404 w 639806"/>
              <a:gd name="connsiteY189" fmla="*/ 298905 h 640080"/>
              <a:gd name="connsiteX190" fmla="*/ 389467 w 639806"/>
              <a:gd name="connsiteY190" fmla="*/ 298915 h 640080"/>
              <a:gd name="connsiteX191" fmla="*/ 494334 w 639806"/>
              <a:gd name="connsiteY191" fmla="*/ 272193 h 640080"/>
              <a:gd name="connsiteX192" fmla="*/ 538730 w 639806"/>
              <a:gd name="connsiteY192" fmla="*/ 300399 h 640080"/>
              <a:gd name="connsiteX193" fmla="*/ 538915 w 639806"/>
              <a:gd name="connsiteY193" fmla="*/ 300399 h 640080"/>
              <a:gd name="connsiteX194" fmla="*/ 539125 w 639806"/>
              <a:gd name="connsiteY194" fmla="*/ 349697 h 640080"/>
              <a:gd name="connsiteX195" fmla="*/ 510571 w 639806"/>
              <a:gd name="connsiteY195" fmla="*/ 408484 h 640080"/>
              <a:gd name="connsiteX196" fmla="*/ 464502 w 639806"/>
              <a:gd name="connsiteY196" fmla="*/ 423642 h 640080"/>
              <a:gd name="connsiteX197" fmla="*/ 418285 w 639806"/>
              <a:gd name="connsiteY197" fmla="*/ 407433 h 640080"/>
              <a:gd name="connsiteX198" fmla="*/ 389370 w 639806"/>
              <a:gd name="connsiteY198" fmla="*/ 350234 h 640080"/>
              <a:gd name="connsiteX199" fmla="*/ 437217 w 639806"/>
              <a:gd name="connsiteY199" fmla="*/ 437535 h 640080"/>
              <a:gd name="connsiteX200" fmla="*/ 464453 w 639806"/>
              <a:gd name="connsiteY200" fmla="*/ 442394 h 640080"/>
              <a:gd name="connsiteX201" fmla="*/ 464536 w 639806"/>
              <a:gd name="connsiteY201" fmla="*/ 442394 h 640080"/>
              <a:gd name="connsiteX202" fmla="*/ 464677 w 639806"/>
              <a:gd name="connsiteY202" fmla="*/ 442394 h 640080"/>
              <a:gd name="connsiteX203" fmla="*/ 491058 w 639806"/>
              <a:gd name="connsiteY203" fmla="*/ 438141 h 640080"/>
              <a:gd name="connsiteX204" fmla="*/ 515343 w 639806"/>
              <a:gd name="connsiteY204" fmla="*/ 465844 h 640080"/>
              <a:gd name="connsiteX205" fmla="*/ 464087 w 639806"/>
              <a:gd name="connsiteY205" fmla="*/ 483160 h 640080"/>
              <a:gd name="connsiteX206" fmla="*/ 412830 w 639806"/>
              <a:gd name="connsiteY206" fmla="*/ 465844 h 640080"/>
              <a:gd name="connsiteX207" fmla="*/ 437217 w 639806"/>
              <a:gd name="connsiteY207" fmla="*/ 437535 h 640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Lst>
            <a:rect l="l" t="t" r="r" b="b"/>
            <a:pathLst>
              <a:path w="639806" h="640080">
                <a:moveTo>
                  <a:pt x="599255" y="473834"/>
                </a:moveTo>
                <a:cubicBezTo>
                  <a:pt x="594493" y="471788"/>
                  <a:pt x="588985" y="473525"/>
                  <a:pt x="586728" y="478185"/>
                </a:cubicBezTo>
                <a:cubicBezTo>
                  <a:pt x="584473" y="482844"/>
                  <a:pt x="586382" y="488532"/>
                  <a:pt x="591080" y="490711"/>
                </a:cubicBezTo>
                <a:cubicBezTo>
                  <a:pt x="616191" y="502353"/>
                  <a:pt x="621191" y="514854"/>
                  <a:pt x="621054" y="526760"/>
                </a:cubicBezTo>
                <a:lnTo>
                  <a:pt x="621054" y="621328"/>
                </a:lnTo>
                <a:lnTo>
                  <a:pt x="587290" y="621328"/>
                </a:lnTo>
                <a:lnTo>
                  <a:pt x="587290" y="562805"/>
                </a:lnTo>
                <a:cubicBezTo>
                  <a:pt x="587290" y="557628"/>
                  <a:pt x="583090" y="553429"/>
                  <a:pt x="577914" y="553429"/>
                </a:cubicBezTo>
                <a:cubicBezTo>
                  <a:pt x="572733" y="553429"/>
                  <a:pt x="568537" y="557628"/>
                  <a:pt x="568537" y="562805"/>
                </a:cubicBezTo>
                <a:lnTo>
                  <a:pt x="568537" y="621328"/>
                </a:lnTo>
                <a:lnTo>
                  <a:pt x="359635" y="621328"/>
                </a:lnTo>
                <a:lnTo>
                  <a:pt x="359635" y="562805"/>
                </a:lnTo>
                <a:cubicBezTo>
                  <a:pt x="359635" y="557628"/>
                  <a:pt x="355439" y="553429"/>
                  <a:pt x="350259" y="553429"/>
                </a:cubicBezTo>
                <a:cubicBezTo>
                  <a:pt x="345077" y="553429"/>
                  <a:pt x="340883" y="557628"/>
                  <a:pt x="340883" y="562805"/>
                </a:cubicBezTo>
                <a:lnTo>
                  <a:pt x="340883" y="621328"/>
                </a:lnTo>
                <a:lnTo>
                  <a:pt x="307118" y="621328"/>
                </a:lnTo>
                <a:lnTo>
                  <a:pt x="307118" y="526760"/>
                </a:lnTo>
                <a:cubicBezTo>
                  <a:pt x="307118" y="511705"/>
                  <a:pt x="316715" y="498392"/>
                  <a:pt x="330999" y="493630"/>
                </a:cubicBezTo>
                <a:cubicBezTo>
                  <a:pt x="331438" y="493484"/>
                  <a:pt x="372508" y="475469"/>
                  <a:pt x="393804" y="470171"/>
                </a:cubicBezTo>
                <a:cubicBezTo>
                  <a:pt x="397232" y="478267"/>
                  <a:pt x="404484" y="485456"/>
                  <a:pt x="415037" y="491038"/>
                </a:cubicBezTo>
                <a:cubicBezTo>
                  <a:pt x="428291" y="498051"/>
                  <a:pt x="445709" y="501913"/>
                  <a:pt x="464087" y="501913"/>
                </a:cubicBezTo>
                <a:cubicBezTo>
                  <a:pt x="482458" y="501913"/>
                  <a:pt x="499877" y="498051"/>
                  <a:pt x="513130" y="491038"/>
                </a:cubicBezTo>
                <a:cubicBezTo>
                  <a:pt x="523684" y="485461"/>
                  <a:pt x="530935" y="478267"/>
                  <a:pt x="534364" y="470171"/>
                </a:cubicBezTo>
                <a:cubicBezTo>
                  <a:pt x="540288" y="471646"/>
                  <a:pt x="546177" y="473307"/>
                  <a:pt x="551959" y="475138"/>
                </a:cubicBezTo>
                <a:cubicBezTo>
                  <a:pt x="556896" y="476701"/>
                  <a:pt x="562165" y="473966"/>
                  <a:pt x="563728" y="469029"/>
                </a:cubicBezTo>
                <a:cubicBezTo>
                  <a:pt x="565291" y="464092"/>
                  <a:pt x="562555" y="458822"/>
                  <a:pt x="557618" y="457260"/>
                </a:cubicBezTo>
                <a:cubicBezTo>
                  <a:pt x="548321" y="454314"/>
                  <a:pt x="524846" y="448816"/>
                  <a:pt x="522795" y="448420"/>
                </a:cubicBezTo>
                <a:cubicBezTo>
                  <a:pt x="514947" y="446906"/>
                  <a:pt x="509195" y="439845"/>
                  <a:pt x="509249" y="431016"/>
                </a:cubicBezTo>
                <a:cubicBezTo>
                  <a:pt x="513350" y="428960"/>
                  <a:pt x="517403" y="426587"/>
                  <a:pt x="521305" y="423862"/>
                </a:cubicBezTo>
                <a:cubicBezTo>
                  <a:pt x="536640" y="413157"/>
                  <a:pt x="554683" y="393428"/>
                  <a:pt x="557501" y="359059"/>
                </a:cubicBezTo>
                <a:cubicBezTo>
                  <a:pt x="571434" y="356778"/>
                  <a:pt x="582099" y="344648"/>
                  <a:pt x="582099" y="330070"/>
                </a:cubicBezTo>
                <a:lnTo>
                  <a:pt x="582099" y="320616"/>
                </a:lnTo>
                <a:cubicBezTo>
                  <a:pt x="582099" y="312393"/>
                  <a:pt x="578705" y="304951"/>
                  <a:pt x="573245" y="299612"/>
                </a:cubicBezTo>
                <a:lnTo>
                  <a:pt x="573245" y="279679"/>
                </a:lnTo>
                <a:cubicBezTo>
                  <a:pt x="573245" y="230625"/>
                  <a:pt x="533333" y="190718"/>
                  <a:pt x="484279" y="190718"/>
                </a:cubicBezTo>
                <a:lnTo>
                  <a:pt x="443888" y="190718"/>
                </a:lnTo>
                <a:cubicBezTo>
                  <a:pt x="394834" y="190718"/>
                  <a:pt x="354922" y="230625"/>
                  <a:pt x="354922" y="279679"/>
                </a:cubicBezTo>
                <a:lnTo>
                  <a:pt x="354922" y="299612"/>
                </a:lnTo>
                <a:cubicBezTo>
                  <a:pt x="349462" y="304951"/>
                  <a:pt x="346068" y="312393"/>
                  <a:pt x="346068" y="320616"/>
                </a:cubicBezTo>
                <a:lnTo>
                  <a:pt x="346068" y="330070"/>
                </a:lnTo>
                <a:cubicBezTo>
                  <a:pt x="346068" y="344759"/>
                  <a:pt x="356895" y="356963"/>
                  <a:pt x="370989" y="359107"/>
                </a:cubicBezTo>
                <a:cubicBezTo>
                  <a:pt x="371668" y="367116"/>
                  <a:pt x="373264" y="374344"/>
                  <a:pt x="375511" y="380854"/>
                </a:cubicBezTo>
                <a:cubicBezTo>
                  <a:pt x="365548" y="377025"/>
                  <a:pt x="355431" y="373577"/>
                  <a:pt x="345219" y="370544"/>
                </a:cubicBezTo>
                <a:lnTo>
                  <a:pt x="312144" y="346166"/>
                </a:lnTo>
                <a:cubicBezTo>
                  <a:pt x="304384" y="340448"/>
                  <a:pt x="294494" y="339500"/>
                  <a:pt x="286071" y="343178"/>
                </a:cubicBezTo>
                <a:lnTo>
                  <a:pt x="286071" y="327507"/>
                </a:lnTo>
                <a:cubicBezTo>
                  <a:pt x="295149" y="321021"/>
                  <a:pt x="303255" y="313574"/>
                  <a:pt x="310644" y="306201"/>
                </a:cubicBezTo>
                <a:cubicBezTo>
                  <a:pt x="333645" y="283239"/>
                  <a:pt x="350474" y="256351"/>
                  <a:pt x="350371" y="223007"/>
                </a:cubicBezTo>
                <a:cubicBezTo>
                  <a:pt x="370110" y="223007"/>
                  <a:pt x="386171" y="206935"/>
                  <a:pt x="386171" y="187186"/>
                </a:cubicBezTo>
                <a:lnTo>
                  <a:pt x="386171" y="174681"/>
                </a:lnTo>
                <a:cubicBezTo>
                  <a:pt x="386171" y="167418"/>
                  <a:pt x="384003" y="160660"/>
                  <a:pt x="380278" y="155009"/>
                </a:cubicBezTo>
                <a:lnTo>
                  <a:pt x="380278" y="86935"/>
                </a:lnTo>
                <a:cubicBezTo>
                  <a:pt x="380278" y="77461"/>
                  <a:pt x="377020" y="68304"/>
                  <a:pt x="371189" y="60984"/>
                </a:cubicBezTo>
                <a:cubicBezTo>
                  <a:pt x="374212" y="52531"/>
                  <a:pt x="375862" y="43423"/>
                  <a:pt x="375862" y="33945"/>
                </a:cubicBezTo>
                <a:lnTo>
                  <a:pt x="375862" y="12658"/>
                </a:lnTo>
                <a:cubicBezTo>
                  <a:pt x="375862" y="5679"/>
                  <a:pt x="370183" y="0"/>
                  <a:pt x="363204" y="0"/>
                </a:cubicBezTo>
                <a:lnTo>
                  <a:pt x="165236" y="0"/>
                </a:lnTo>
                <a:cubicBezTo>
                  <a:pt x="137263" y="0"/>
                  <a:pt x="114008" y="20037"/>
                  <a:pt x="109320" y="46842"/>
                </a:cubicBezTo>
                <a:cubicBezTo>
                  <a:pt x="91501" y="51774"/>
                  <a:pt x="78457" y="68099"/>
                  <a:pt x="78457" y="86935"/>
                </a:cubicBezTo>
                <a:lnTo>
                  <a:pt x="78457" y="155004"/>
                </a:lnTo>
                <a:cubicBezTo>
                  <a:pt x="74731" y="160655"/>
                  <a:pt x="72558" y="167418"/>
                  <a:pt x="72558" y="174681"/>
                </a:cubicBezTo>
                <a:lnTo>
                  <a:pt x="72558" y="187186"/>
                </a:lnTo>
                <a:cubicBezTo>
                  <a:pt x="72558" y="206940"/>
                  <a:pt x="89020" y="223007"/>
                  <a:pt x="108764" y="223007"/>
                </a:cubicBezTo>
                <a:cubicBezTo>
                  <a:pt x="108871" y="257317"/>
                  <a:pt x="125246" y="283278"/>
                  <a:pt x="149061" y="306728"/>
                </a:cubicBezTo>
                <a:cubicBezTo>
                  <a:pt x="156196" y="313755"/>
                  <a:pt x="163990" y="320841"/>
                  <a:pt x="172658" y="327077"/>
                </a:cubicBezTo>
                <a:lnTo>
                  <a:pt x="172658" y="343163"/>
                </a:lnTo>
                <a:cubicBezTo>
                  <a:pt x="164249" y="339505"/>
                  <a:pt x="154369" y="340463"/>
                  <a:pt x="146615" y="346171"/>
                </a:cubicBezTo>
                <a:lnTo>
                  <a:pt x="113593" y="370500"/>
                </a:lnTo>
                <a:cubicBezTo>
                  <a:pt x="90080" y="377478"/>
                  <a:pt x="67074" y="386645"/>
                  <a:pt x="45191" y="397755"/>
                </a:cubicBezTo>
                <a:cubicBezTo>
                  <a:pt x="17317" y="411902"/>
                  <a:pt x="0" y="440114"/>
                  <a:pt x="0" y="471378"/>
                </a:cubicBezTo>
                <a:lnTo>
                  <a:pt x="0" y="482824"/>
                </a:lnTo>
                <a:cubicBezTo>
                  <a:pt x="0" y="488001"/>
                  <a:pt x="4195" y="492200"/>
                  <a:pt x="9376" y="492200"/>
                </a:cubicBezTo>
                <a:cubicBezTo>
                  <a:pt x="14557" y="492200"/>
                  <a:pt x="18752" y="488001"/>
                  <a:pt x="18752" y="482824"/>
                </a:cubicBezTo>
                <a:lnTo>
                  <a:pt x="18752" y="471378"/>
                </a:lnTo>
                <a:cubicBezTo>
                  <a:pt x="18752" y="447215"/>
                  <a:pt x="32133" y="425409"/>
                  <a:pt x="53679" y="414476"/>
                </a:cubicBezTo>
                <a:cubicBezTo>
                  <a:pt x="73037" y="404651"/>
                  <a:pt x="93312" y="396417"/>
                  <a:pt x="114043" y="389961"/>
                </a:cubicBezTo>
                <a:cubicBezTo>
                  <a:pt x="114043" y="389961"/>
                  <a:pt x="150600" y="441100"/>
                  <a:pt x="150654" y="441174"/>
                </a:cubicBezTo>
                <a:cubicBezTo>
                  <a:pt x="156245" y="448996"/>
                  <a:pt x="168087" y="451516"/>
                  <a:pt x="176423" y="446452"/>
                </a:cubicBezTo>
                <a:lnTo>
                  <a:pt x="229379" y="414281"/>
                </a:lnTo>
                <a:cubicBezTo>
                  <a:pt x="229379" y="414281"/>
                  <a:pt x="282330" y="446447"/>
                  <a:pt x="282335" y="446452"/>
                </a:cubicBezTo>
                <a:cubicBezTo>
                  <a:pt x="290715" y="451545"/>
                  <a:pt x="302294" y="449304"/>
                  <a:pt x="308110" y="441174"/>
                </a:cubicBezTo>
                <a:lnTo>
                  <a:pt x="344702" y="389985"/>
                </a:lnTo>
                <a:cubicBezTo>
                  <a:pt x="360445" y="394888"/>
                  <a:pt x="375941" y="400811"/>
                  <a:pt x="390869" y="407643"/>
                </a:cubicBezTo>
                <a:cubicBezTo>
                  <a:pt x="396192" y="413875"/>
                  <a:pt x="401964" y="418831"/>
                  <a:pt x="407405" y="422704"/>
                </a:cubicBezTo>
                <a:cubicBezTo>
                  <a:pt x="411165" y="425386"/>
                  <a:pt x="415027" y="427748"/>
                  <a:pt x="418920" y="429815"/>
                </a:cubicBezTo>
                <a:cubicBezTo>
                  <a:pt x="420019" y="439635"/>
                  <a:pt x="413220" y="446902"/>
                  <a:pt x="405373" y="448416"/>
                </a:cubicBezTo>
                <a:cubicBezTo>
                  <a:pt x="403322" y="448811"/>
                  <a:pt x="347997" y="464149"/>
                  <a:pt x="324382" y="476076"/>
                </a:cubicBezTo>
                <a:cubicBezTo>
                  <a:pt x="302812" y="483585"/>
                  <a:pt x="288366" y="503862"/>
                  <a:pt x="288366" y="526760"/>
                </a:cubicBezTo>
                <a:lnTo>
                  <a:pt x="288366" y="621328"/>
                </a:lnTo>
                <a:lnTo>
                  <a:pt x="88204" y="621328"/>
                </a:lnTo>
                <a:lnTo>
                  <a:pt x="88204" y="546885"/>
                </a:lnTo>
                <a:cubicBezTo>
                  <a:pt x="88204" y="541704"/>
                  <a:pt x="84010" y="537508"/>
                  <a:pt x="78828" y="537508"/>
                </a:cubicBezTo>
                <a:cubicBezTo>
                  <a:pt x="73652" y="537508"/>
                  <a:pt x="69452" y="541704"/>
                  <a:pt x="69452" y="546885"/>
                </a:cubicBezTo>
                <a:lnTo>
                  <a:pt x="69452" y="621328"/>
                </a:lnTo>
                <a:lnTo>
                  <a:pt x="18752" y="621328"/>
                </a:lnTo>
                <a:lnTo>
                  <a:pt x="18752" y="526687"/>
                </a:lnTo>
                <a:cubicBezTo>
                  <a:pt x="18752" y="521505"/>
                  <a:pt x="14557" y="517311"/>
                  <a:pt x="9376" y="517311"/>
                </a:cubicBezTo>
                <a:cubicBezTo>
                  <a:pt x="4195" y="517311"/>
                  <a:pt x="0" y="521505"/>
                  <a:pt x="0" y="526687"/>
                </a:cubicBezTo>
                <a:lnTo>
                  <a:pt x="0" y="622568"/>
                </a:lnTo>
                <a:cubicBezTo>
                  <a:pt x="0" y="632228"/>
                  <a:pt x="7857" y="640080"/>
                  <a:pt x="17512" y="640080"/>
                </a:cubicBezTo>
                <a:lnTo>
                  <a:pt x="622294" y="640080"/>
                </a:lnTo>
                <a:cubicBezTo>
                  <a:pt x="631949" y="640080"/>
                  <a:pt x="639806" y="632228"/>
                  <a:pt x="639806" y="622568"/>
                </a:cubicBezTo>
                <a:cubicBezTo>
                  <a:pt x="639806" y="622568"/>
                  <a:pt x="639806" y="526790"/>
                  <a:pt x="639806" y="526760"/>
                </a:cubicBezTo>
                <a:cubicBezTo>
                  <a:pt x="639806" y="514396"/>
                  <a:pt x="635192" y="502294"/>
                  <a:pt x="627363" y="492772"/>
                </a:cubicBezTo>
                <a:cubicBezTo>
                  <a:pt x="623408" y="487966"/>
                  <a:pt x="611088" y="478912"/>
                  <a:pt x="599255" y="473834"/>
                </a:cubicBezTo>
                <a:close/>
                <a:moveTo>
                  <a:pt x="367418" y="187186"/>
                </a:moveTo>
                <a:cubicBezTo>
                  <a:pt x="367418" y="196597"/>
                  <a:pt x="359771" y="204254"/>
                  <a:pt x="350371" y="204254"/>
                </a:cubicBezTo>
                <a:lnTo>
                  <a:pt x="350313" y="204254"/>
                </a:lnTo>
                <a:lnTo>
                  <a:pt x="350171" y="157607"/>
                </a:lnTo>
                <a:cubicBezTo>
                  <a:pt x="359571" y="157607"/>
                  <a:pt x="367418" y="165264"/>
                  <a:pt x="367418" y="174676"/>
                </a:cubicBezTo>
                <a:close/>
                <a:moveTo>
                  <a:pt x="361525" y="140638"/>
                </a:moveTo>
                <a:cubicBezTo>
                  <a:pt x="355142" y="138455"/>
                  <a:pt x="348437" y="138860"/>
                  <a:pt x="348437" y="138860"/>
                </a:cubicBezTo>
                <a:cubicBezTo>
                  <a:pt x="345282" y="126158"/>
                  <a:pt x="337967" y="115220"/>
                  <a:pt x="328010" y="107509"/>
                </a:cubicBezTo>
                <a:cubicBezTo>
                  <a:pt x="341126" y="101673"/>
                  <a:pt x="352403" y="92424"/>
                  <a:pt x="360709" y="80899"/>
                </a:cubicBezTo>
                <a:cubicBezTo>
                  <a:pt x="361246" y="82847"/>
                  <a:pt x="361525" y="140638"/>
                  <a:pt x="361525" y="140638"/>
                </a:cubicBezTo>
                <a:close/>
                <a:moveTo>
                  <a:pt x="118633" y="64149"/>
                </a:moveTo>
                <a:cubicBezTo>
                  <a:pt x="123355" y="63763"/>
                  <a:pt x="127047" y="59920"/>
                  <a:pt x="127242" y="55192"/>
                </a:cubicBezTo>
                <a:cubicBezTo>
                  <a:pt x="128082" y="34760"/>
                  <a:pt x="144774" y="18752"/>
                  <a:pt x="165236" y="18752"/>
                </a:cubicBezTo>
                <a:lnTo>
                  <a:pt x="357110" y="18752"/>
                </a:lnTo>
                <a:lnTo>
                  <a:pt x="357110" y="33945"/>
                </a:lnTo>
                <a:cubicBezTo>
                  <a:pt x="357110" y="67982"/>
                  <a:pt x="329421" y="95671"/>
                  <a:pt x="295383" y="95671"/>
                </a:cubicBezTo>
                <a:lnTo>
                  <a:pt x="165782" y="95671"/>
                </a:lnTo>
                <a:cubicBezTo>
                  <a:pt x="154366" y="95671"/>
                  <a:pt x="145008" y="104662"/>
                  <a:pt x="144422" y="115932"/>
                </a:cubicBezTo>
                <a:cubicBezTo>
                  <a:pt x="141463" y="129054"/>
                  <a:pt x="130183" y="138860"/>
                  <a:pt x="117905" y="138860"/>
                </a:cubicBezTo>
                <a:cubicBezTo>
                  <a:pt x="117905" y="138860"/>
                  <a:pt x="106024" y="138142"/>
                  <a:pt x="97209" y="140638"/>
                </a:cubicBezTo>
                <a:lnTo>
                  <a:pt x="97209" y="86935"/>
                </a:lnTo>
                <a:cubicBezTo>
                  <a:pt x="97209" y="75136"/>
                  <a:pt x="106620" y="65130"/>
                  <a:pt x="118633" y="64149"/>
                </a:cubicBezTo>
                <a:close/>
                <a:moveTo>
                  <a:pt x="108705" y="204254"/>
                </a:moveTo>
                <a:cubicBezTo>
                  <a:pt x="99304" y="204254"/>
                  <a:pt x="91310" y="196597"/>
                  <a:pt x="91310" y="187186"/>
                </a:cubicBezTo>
                <a:lnTo>
                  <a:pt x="91310" y="174681"/>
                </a:lnTo>
                <a:cubicBezTo>
                  <a:pt x="91310" y="165269"/>
                  <a:pt x="99158" y="157612"/>
                  <a:pt x="108563" y="157612"/>
                </a:cubicBezTo>
                <a:close/>
                <a:moveTo>
                  <a:pt x="127536" y="228169"/>
                </a:moveTo>
                <a:lnTo>
                  <a:pt x="127311" y="156523"/>
                </a:lnTo>
                <a:cubicBezTo>
                  <a:pt x="144647" y="152490"/>
                  <a:pt x="159200" y="137653"/>
                  <a:pt x="162964" y="118902"/>
                </a:cubicBezTo>
                <a:cubicBezTo>
                  <a:pt x="163322" y="117119"/>
                  <a:pt x="163092" y="114423"/>
                  <a:pt x="165777" y="114423"/>
                </a:cubicBezTo>
                <a:lnTo>
                  <a:pt x="295882" y="114423"/>
                </a:lnTo>
                <a:cubicBezTo>
                  <a:pt x="314599" y="115884"/>
                  <a:pt x="329421" y="130408"/>
                  <a:pt x="331218" y="149130"/>
                </a:cubicBezTo>
                <a:cubicBezTo>
                  <a:pt x="331258" y="149540"/>
                  <a:pt x="331633" y="227460"/>
                  <a:pt x="331633" y="227460"/>
                </a:cubicBezTo>
                <a:cubicBezTo>
                  <a:pt x="331140" y="255452"/>
                  <a:pt x="314888" y="275469"/>
                  <a:pt x="297396" y="292932"/>
                </a:cubicBezTo>
                <a:cubicBezTo>
                  <a:pt x="279259" y="311040"/>
                  <a:pt x="258529" y="327858"/>
                  <a:pt x="229931" y="328342"/>
                </a:cubicBezTo>
                <a:cubicBezTo>
                  <a:pt x="201349" y="328054"/>
                  <a:pt x="180496" y="311368"/>
                  <a:pt x="162218" y="293367"/>
                </a:cubicBezTo>
                <a:cubicBezTo>
                  <a:pt x="144608" y="276026"/>
                  <a:pt x="128224" y="256131"/>
                  <a:pt x="127536" y="228169"/>
                </a:cubicBezTo>
                <a:close/>
                <a:moveTo>
                  <a:pt x="229882" y="347095"/>
                </a:moveTo>
                <a:lnTo>
                  <a:pt x="229960" y="347095"/>
                </a:lnTo>
                <a:lnTo>
                  <a:pt x="230108" y="347095"/>
                </a:lnTo>
                <a:cubicBezTo>
                  <a:pt x="243986" y="346880"/>
                  <a:pt x="256287" y="343612"/>
                  <a:pt x="267318" y="338524"/>
                </a:cubicBezTo>
                <a:lnTo>
                  <a:pt x="267318" y="357872"/>
                </a:lnTo>
                <a:lnTo>
                  <a:pt x="229379" y="390864"/>
                </a:lnTo>
                <a:lnTo>
                  <a:pt x="191410" y="357847"/>
                </a:lnTo>
                <a:lnTo>
                  <a:pt x="191410" y="338216"/>
                </a:lnTo>
                <a:cubicBezTo>
                  <a:pt x="202789" y="343554"/>
                  <a:pt x="215506" y="346972"/>
                  <a:pt x="229882" y="347095"/>
                </a:cubicBezTo>
                <a:close/>
                <a:moveTo>
                  <a:pt x="166691" y="430425"/>
                </a:moveTo>
                <a:cubicBezTo>
                  <a:pt x="166427" y="430586"/>
                  <a:pt x="166081" y="430513"/>
                  <a:pt x="165909" y="430264"/>
                </a:cubicBezTo>
                <a:lnTo>
                  <a:pt x="130778" y="381131"/>
                </a:lnTo>
                <a:lnTo>
                  <a:pt x="157740" y="361266"/>
                </a:lnTo>
                <a:cubicBezTo>
                  <a:pt x="160620" y="359141"/>
                  <a:pt x="164508" y="359302"/>
                  <a:pt x="167208" y="361646"/>
                </a:cubicBezTo>
                <a:lnTo>
                  <a:pt x="167203" y="361646"/>
                </a:lnTo>
                <a:lnTo>
                  <a:pt x="213552" y="401950"/>
                </a:lnTo>
                <a:close/>
                <a:moveTo>
                  <a:pt x="292854" y="430264"/>
                </a:moveTo>
                <a:cubicBezTo>
                  <a:pt x="292678" y="430513"/>
                  <a:pt x="292332" y="430586"/>
                  <a:pt x="292073" y="430425"/>
                </a:cubicBezTo>
                <a:lnTo>
                  <a:pt x="245207" y="401954"/>
                </a:lnTo>
                <a:lnTo>
                  <a:pt x="291550" y="361646"/>
                </a:lnTo>
                <a:cubicBezTo>
                  <a:pt x="294246" y="359307"/>
                  <a:pt x="298142" y="359146"/>
                  <a:pt x="301019" y="361266"/>
                </a:cubicBezTo>
                <a:lnTo>
                  <a:pt x="327981" y="381131"/>
                </a:lnTo>
                <a:close/>
                <a:moveTo>
                  <a:pt x="563347" y="330070"/>
                </a:moveTo>
                <a:cubicBezTo>
                  <a:pt x="563347" y="334079"/>
                  <a:pt x="561120" y="337576"/>
                  <a:pt x="557833" y="339384"/>
                </a:cubicBezTo>
                <a:lnTo>
                  <a:pt x="557716" y="311235"/>
                </a:lnTo>
                <a:cubicBezTo>
                  <a:pt x="561066" y="313023"/>
                  <a:pt x="563352" y="316553"/>
                  <a:pt x="563352" y="320611"/>
                </a:cubicBezTo>
                <a:lnTo>
                  <a:pt x="563352" y="330070"/>
                </a:lnTo>
                <a:close/>
                <a:moveTo>
                  <a:pt x="443888" y="209465"/>
                </a:moveTo>
                <a:lnTo>
                  <a:pt x="484284" y="209465"/>
                </a:lnTo>
                <a:cubicBezTo>
                  <a:pt x="523000" y="209465"/>
                  <a:pt x="554493" y="240963"/>
                  <a:pt x="554493" y="279679"/>
                </a:cubicBezTo>
                <a:lnTo>
                  <a:pt x="554493" y="289181"/>
                </a:lnTo>
                <a:cubicBezTo>
                  <a:pt x="554493" y="284083"/>
                  <a:pt x="542875" y="281490"/>
                  <a:pt x="539306" y="281636"/>
                </a:cubicBezTo>
                <a:cubicBezTo>
                  <a:pt x="535663" y="281788"/>
                  <a:pt x="522585" y="280353"/>
                  <a:pt x="506006" y="256380"/>
                </a:cubicBezTo>
                <a:cubicBezTo>
                  <a:pt x="503613" y="252913"/>
                  <a:pt x="499829" y="250793"/>
                  <a:pt x="495623" y="250564"/>
                </a:cubicBezTo>
                <a:cubicBezTo>
                  <a:pt x="491390" y="250349"/>
                  <a:pt x="487371" y="252043"/>
                  <a:pt x="484587" y="255252"/>
                </a:cubicBezTo>
                <a:cubicBezTo>
                  <a:pt x="461410" y="281979"/>
                  <a:pt x="411755" y="283742"/>
                  <a:pt x="392662" y="280435"/>
                </a:cubicBezTo>
                <a:cubicBezTo>
                  <a:pt x="385478" y="279195"/>
                  <a:pt x="377845" y="282379"/>
                  <a:pt x="373679" y="288499"/>
                </a:cubicBezTo>
                <a:lnTo>
                  <a:pt x="373679" y="279684"/>
                </a:lnTo>
                <a:cubicBezTo>
                  <a:pt x="373679" y="240963"/>
                  <a:pt x="405173" y="209465"/>
                  <a:pt x="443888" y="209465"/>
                </a:cubicBezTo>
                <a:close/>
                <a:moveTo>
                  <a:pt x="364821" y="330070"/>
                </a:moveTo>
                <a:lnTo>
                  <a:pt x="364821" y="320616"/>
                </a:lnTo>
                <a:cubicBezTo>
                  <a:pt x="364821" y="316563"/>
                  <a:pt x="367097" y="313037"/>
                  <a:pt x="370438" y="311250"/>
                </a:cubicBezTo>
                <a:lnTo>
                  <a:pt x="370569" y="339510"/>
                </a:lnTo>
                <a:cubicBezTo>
                  <a:pt x="367156" y="337742"/>
                  <a:pt x="364821" y="334173"/>
                  <a:pt x="364821" y="330070"/>
                </a:cubicBezTo>
                <a:close/>
                <a:moveTo>
                  <a:pt x="389370" y="350234"/>
                </a:moveTo>
                <a:lnTo>
                  <a:pt x="389131" y="299222"/>
                </a:lnTo>
                <a:cubicBezTo>
                  <a:pt x="389131" y="299164"/>
                  <a:pt x="389131" y="299071"/>
                  <a:pt x="389242" y="298977"/>
                </a:cubicBezTo>
                <a:cubicBezTo>
                  <a:pt x="389311" y="298919"/>
                  <a:pt x="389360" y="298905"/>
                  <a:pt x="389404" y="298905"/>
                </a:cubicBezTo>
                <a:cubicBezTo>
                  <a:pt x="389429" y="298905"/>
                  <a:pt x="389449" y="298910"/>
                  <a:pt x="389467" y="298915"/>
                </a:cubicBezTo>
                <a:cubicBezTo>
                  <a:pt x="415657" y="303442"/>
                  <a:pt x="465698" y="299799"/>
                  <a:pt x="494334" y="272193"/>
                </a:cubicBezTo>
                <a:cubicBezTo>
                  <a:pt x="503847" y="284572"/>
                  <a:pt x="519727" y="300399"/>
                  <a:pt x="538730" y="300399"/>
                </a:cubicBezTo>
                <a:lnTo>
                  <a:pt x="538915" y="300399"/>
                </a:lnTo>
                <a:lnTo>
                  <a:pt x="539125" y="349697"/>
                </a:lnTo>
                <a:cubicBezTo>
                  <a:pt x="539125" y="375482"/>
                  <a:pt x="529520" y="395259"/>
                  <a:pt x="510571" y="408484"/>
                </a:cubicBezTo>
                <a:cubicBezTo>
                  <a:pt x="495003" y="419354"/>
                  <a:pt x="476056" y="423442"/>
                  <a:pt x="464502" y="423642"/>
                </a:cubicBezTo>
                <a:cubicBezTo>
                  <a:pt x="448362" y="423925"/>
                  <a:pt x="431255" y="416678"/>
                  <a:pt x="418285" y="407433"/>
                </a:cubicBezTo>
                <a:cubicBezTo>
                  <a:pt x="399097" y="393765"/>
                  <a:pt x="389370" y="374534"/>
                  <a:pt x="389370" y="350234"/>
                </a:cubicBezTo>
                <a:close/>
                <a:moveTo>
                  <a:pt x="437217" y="437535"/>
                </a:moveTo>
                <a:cubicBezTo>
                  <a:pt x="447673" y="440900"/>
                  <a:pt x="457332" y="442335"/>
                  <a:pt x="464453" y="442394"/>
                </a:cubicBezTo>
                <a:lnTo>
                  <a:pt x="464536" y="442394"/>
                </a:lnTo>
                <a:lnTo>
                  <a:pt x="464677" y="442394"/>
                </a:lnTo>
                <a:cubicBezTo>
                  <a:pt x="472022" y="442282"/>
                  <a:pt x="481276" y="441008"/>
                  <a:pt x="491058" y="438141"/>
                </a:cubicBezTo>
                <a:cubicBezTo>
                  <a:pt x="493377" y="451111"/>
                  <a:pt x="502729" y="461874"/>
                  <a:pt x="515343" y="465844"/>
                </a:cubicBezTo>
                <a:cubicBezTo>
                  <a:pt x="508565" y="474957"/>
                  <a:pt x="488840" y="483160"/>
                  <a:pt x="464087" y="483160"/>
                </a:cubicBezTo>
                <a:cubicBezTo>
                  <a:pt x="439332" y="483160"/>
                  <a:pt x="419609" y="474957"/>
                  <a:pt x="412830" y="465844"/>
                </a:cubicBezTo>
                <a:cubicBezTo>
                  <a:pt x="425639" y="461815"/>
                  <a:pt x="435083" y="450779"/>
                  <a:pt x="437217" y="437535"/>
                </a:cubicBezTo>
                <a:close/>
              </a:path>
            </a:pathLst>
          </a:custGeom>
          <a:solidFill>
            <a:srgbClr val="001965"/>
          </a:solidFill>
          <a:ln w="1246" cap="flat">
            <a:noFill/>
            <a:prstDash val="solid"/>
            <a:miter/>
          </a:ln>
        </p:spPr>
        <p:txBody>
          <a:bodyPr rtlCol="0" anchor="ctr"/>
          <a:lstStyle/>
          <a:p>
            <a:endParaRPr lang="en-US"/>
          </a:p>
        </p:txBody>
      </p:sp>
      <p:sp>
        <p:nvSpPr>
          <p:cNvPr id="38" name="Freeform: Shape 37">
            <a:extLst>
              <a:ext uri="{FF2B5EF4-FFF2-40B4-BE49-F238E27FC236}">
                <a16:creationId xmlns:a16="http://schemas.microsoft.com/office/drawing/2014/main" id="{DCE17220-9875-3293-5276-C0AB90F57301}"/>
              </a:ext>
            </a:extLst>
          </p:cNvPr>
          <p:cNvSpPr/>
          <p:nvPr/>
        </p:nvSpPr>
        <p:spPr>
          <a:xfrm>
            <a:off x="6258433" y="5104790"/>
            <a:ext cx="74296" cy="72625"/>
          </a:xfrm>
          <a:custGeom>
            <a:avLst/>
            <a:gdLst>
              <a:gd name="connsiteX0" fmla="*/ 61360 w 74296"/>
              <a:gd name="connsiteY0" fmla="*/ 0 h 72625"/>
              <a:gd name="connsiteX1" fmla="*/ 12942 w 74296"/>
              <a:gd name="connsiteY1" fmla="*/ 0 h 72625"/>
              <a:gd name="connsiteX2" fmla="*/ 0 w 74296"/>
              <a:gd name="connsiteY2" fmla="*/ 12942 h 72625"/>
              <a:gd name="connsiteX3" fmla="*/ 0 w 74296"/>
              <a:gd name="connsiteY3" fmla="*/ 47770 h 72625"/>
              <a:gd name="connsiteX4" fmla="*/ 7198 w 74296"/>
              <a:gd name="connsiteY4" fmla="*/ 59369 h 72625"/>
              <a:gd name="connsiteX5" fmla="*/ 31401 w 74296"/>
              <a:gd name="connsiteY5" fmla="*/ 71353 h 72625"/>
              <a:gd name="connsiteX6" fmla="*/ 42892 w 74296"/>
              <a:gd name="connsiteY6" fmla="*/ 71356 h 72625"/>
              <a:gd name="connsiteX7" fmla="*/ 67103 w 74296"/>
              <a:gd name="connsiteY7" fmla="*/ 59369 h 72625"/>
              <a:gd name="connsiteX8" fmla="*/ 74297 w 74296"/>
              <a:gd name="connsiteY8" fmla="*/ 47770 h 72625"/>
              <a:gd name="connsiteX9" fmla="*/ 74297 w 74296"/>
              <a:gd name="connsiteY9" fmla="*/ 12942 h 72625"/>
              <a:gd name="connsiteX10" fmla="*/ 61360 w 74296"/>
              <a:gd name="connsiteY10" fmla="*/ 0 h 72625"/>
              <a:gd name="connsiteX11" fmla="*/ 55544 w 74296"/>
              <a:gd name="connsiteY11" fmla="*/ 44166 h 72625"/>
              <a:gd name="connsiteX12" fmla="*/ 37148 w 74296"/>
              <a:gd name="connsiteY12" fmla="*/ 53274 h 72625"/>
              <a:gd name="connsiteX13" fmla="*/ 18752 w 74296"/>
              <a:gd name="connsiteY13" fmla="*/ 44166 h 72625"/>
              <a:gd name="connsiteX14" fmla="*/ 18752 w 74296"/>
              <a:gd name="connsiteY14" fmla="*/ 18752 h 72625"/>
              <a:gd name="connsiteX15" fmla="*/ 55544 w 74296"/>
              <a:gd name="connsiteY15" fmla="*/ 18752 h 72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4296" h="72625">
                <a:moveTo>
                  <a:pt x="61360" y="0"/>
                </a:moveTo>
                <a:lnTo>
                  <a:pt x="12942" y="0"/>
                </a:lnTo>
                <a:cubicBezTo>
                  <a:pt x="5807" y="0"/>
                  <a:pt x="0" y="5807"/>
                  <a:pt x="0" y="12942"/>
                </a:cubicBezTo>
                <a:lnTo>
                  <a:pt x="0" y="47770"/>
                </a:lnTo>
                <a:cubicBezTo>
                  <a:pt x="0" y="52727"/>
                  <a:pt x="2759" y="57171"/>
                  <a:pt x="7198" y="59369"/>
                </a:cubicBezTo>
                <a:cubicBezTo>
                  <a:pt x="7198" y="59369"/>
                  <a:pt x="31386" y="71348"/>
                  <a:pt x="31401" y="71353"/>
                </a:cubicBezTo>
                <a:cubicBezTo>
                  <a:pt x="34791" y="73032"/>
                  <a:pt x="39449" y="73067"/>
                  <a:pt x="42892" y="71356"/>
                </a:cubicBezTo>
                <a:cubicBezTo>
                  <a:pt x="42892" y="71356"/>
                  <a:pt x="67098" y="59369"/>
                  <a:pt x="67103" y="59369"/>
                </a:cubicBezTo>
                <a:cubicBezTo>
                  <a:pt x="71543" y="57171"/>
                  <a:pt x="74297" y="52727"/>
                  <a:pt x="74297" y="47770"/>
                </a:cubicBezTo>
                <a:lnTo>
                  <a:pt x="74297" y="12942"/>
                </a:lnTo>
                <a:cubicBezTo>
                  <a:pt x="74297" y="5807"/>
                  <a:pt x="68495" y="0"/>
                  <a:pt x="61360" y="0"/>
                </a:cubicBezTo>
                <a:close/>
                <a:moveTo>
                  <a:pt x="55544" y="44166"/>
                </a:moveTo>
                <a:lnTo>
                  <a:pt x="37148" y="53274"/>
                </a:lnTo>
                <a:lnTo>
                  <a:pt x="18752" y="44166"/>
                </a:lnTo>
                <a:lnTo>
                  <a:pt x="18752" y="18752"/>
                </a:lnTo>
                <a:lnTo>
                  <a:pt x="55544" y="18752"/>
                </a:lnTo>
                <a:close/>
              </a:path>
            </a:pathLst>
          </a:custGeom>
          <a:solidFill>
            <a:srgbClr val="001965"/>
          </a:solidFill>
          <a:ln w="1246" cap="flat">
            <a:noFill/>
            <a:prstDash val="solid"/>
            <a:miter/>
          </a:ln>
        </p:spPr>
        <p:txBody>
          <a:bodyPr rtlCol="0" anchor="ctr"/>
          <a:lstStyle/>
          <a:p>
            <a:endParaRPr lang="en-US"/>
          </a:p>
        </p:txBody>
      </p:sp>
      <p:cxnSp>
        <p:nvCxnSpPr>
          <p:cNvPr id="40" name="Straight Connector 39">
            <a:extLst>
              <a:ext uri="{FF2B5EF4-FFF2-40B4-BE49-F238E27FC236}">
                <a16:creationId xmlns:a16="http://schemas.microsoft.com/office/drawing/2014/main" id="{56BB779D-FB77-A55B-27CA-306CF3212E66}"/>
              </a:ext>
            </a:extLst>
          </p:cNvPr>
          <p:cNvCxnSpPr/>
          <p:nvPr/>
        </p:nvCxnSpPr>
        <p:spPr>
          <a:xfrm>
            <a:off x="5952563" y="4842510"/>
            <a:ext cx="113803"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DB2703B1-C339-F870-C85D-0DAFA2CCE405}"/>
              </a:ext>
            </a:extLst>
          </p:cNvPr>
          <p:cNvCxnSpPr>
            <a:cxnSpLocks/>
          </p:cNvCxnSpPr>
          <p:nvPr/>
        </p:nvCxnSpPr>
        <p:spPr>
          <a:xfrm>
            <a:off x="6204458" y="4958715"/>
            <a:ext cx="73770" cy="0"/>
          </a:xfrm>
          <a:prstGeom prst="line">
            <a:avLst/>
          </a:prstGeom>
          <a:ln w="1270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44" name="Graphic 43">
            <a:extLst>
              <a:ext uri="{FF2B5EF4-FFF2-40B4-BE49-F238E27FC236}">
                <a16:creationId xmlns:a16="http://schemas.microsoft.com/office/drawing/2014/main" id="{290DB45C-BDF5-7D35-6EA4-0DE9B8B68711}"/>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274599" y="4267057"/>
            <a:ext cx="784042" cy="784042"/>
          </a:xfrm>
          <a:prstGeom prst="rect">
            <a:avLst/>
          </a:prstGeom>
        </p:spPr>
      </p:pic>
      <p:pic>
        <p:nvPicPr>
          <p:cNvPr id="46" name="Graphic 45">
            <a:extLst>
              <a:ext uri="{FF2B5EF4-FFF2-40B4-BE49-F238E27FC236}">
                <a16:creationId xmlns:a16="http://schemas.microsoft.com/office/drawing/2014/main" id="{894BC79A-5873-004A-83EC-53366001F2DA}"/>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464400" y="4265886"/>
            <a:ext cx="786384" cy="786384"/>
          </a:xfrm>
          <a:prstGeom prst="rect">
            <a:avLst/>
          </a:prstGeom>
        </p:spPr>
      </p:pic>
      <p:pic>
        <p:nvPicPr>
          <p:cNvPr id="47" name="Graphic 46">
            <a:extLst>
              <a:ext uri="{FF2B5EF4-FFF2-40B4-BE49-F238E27FC236}">
                <a16:creationId xmlns:a16="http://schemas.microsoft.com/office/drawing/2014/main" id="{CE507DF9-AF9C-F3BB-8718-3F4AFBB40129}"/>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350040" y="4247598"/>
            <a:ext cx="822960" cy="822960"/>
          </a:xfrm>
          <a:prstGeom prst="rect">
            <a:avLst/>
          </a:prstGeom>
        </p:spPr>
      </p:pic>
    </p:spTree>
    <p:extLst>
      <p:ext uri="{BB962C8B-B14F-4D97-AF65-F5344CB8AC3E}">
        <p14:creationId xmlns:p14="http://schemas.microsoft.com/office/powerpoint/2010/main" val="35797468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6"/>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8"/>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6"/>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2"/>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33"/>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44"/>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46"/>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11" grpId="0" animBg="1"/>
      <p:bldP spid="22" grpId="0" animBg="1"/>
      <p:bldP spid="26" grpId="0" animBg="1"/>
      <p:bldP spid="32" grpId="0" animBg="1"/>
      <p:bldP spid="33" grpId="0" animBg="1"/>
      <p:bldP spid="35" grpId="0" animBg="1"/>
      <p:bldP spid="36" grpId="0" animBg="1"/>
      <p:bldP spid="37" grpId="0" animBg="1"/>
      <p:bldP spid="38"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a:extLst>
              <a:ext uri="{FF2B5EF4-FFF2-40B4-BE49-F238E27FC236}">
                <a16:creationId xmlns:a16="http://schemas.microsoft.com/office/drawing/2014/main" id="{A7AF5C44-311E-2F27-3405-777F2756474D}"/>
              </a:ext>
            </a:extLst>
          </p:cNvPr>
          <p:cNvPicPr>
            <a:picLocks noGrp="1" noChangeAspect="1"/>
          </p:cNvPicPr>
          <p:nvPr>
            <p:ph sz="half" idx="2"/>
          </p:nvPr>
        </p:nvPicPr>
        <p:blipFill>
          <a:blip r:embed="rId2"/>
          <a:stretch>
            <a:fillRect/>
          </a:stretch>
        </p:blipFill>
        <p:spPr>
          <a:xfrm rot="174386">
            <a:off x="6895795" y="1509758"/>
            <a:ext cx="5017633" cy="3065808"/>
          </a:xfrm>
          <a:prstGeom prst="rect">
            <a:avLst/>
          </a:prstGeom>
          <a:solidFill>
            <a:srgbClr val="FFFFFF">
              <a:shade val="85000"/>
            </a:srgbClr>
          </a:solidFill>
          <a:ln w="1905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0" name="Content Placeholder 9">
            <a:extLst>
              <a:ext uri="{FF2B5EF4-FFF2-40B4-BE49-F238E27FC236}">
                <a16:creationId xmlns:a16="http://schemas.microsoft.com/office/drawing/2014/main" id="{C97ACC95-4BE5-C484-14AE-F230C903FDFF}"/>
              </a:ext>
            </a:extLst>
          </p:cNvPr>
          <p:cNvPicPr>
            <a:picLocks noGrp="1" noChangeAspect="1"/>
          </p:cNvPicPr>
          <p:nvPr>
            <p:ph sz="half" idx="1"/>
          </p:nvPr>
        </p:nvPicPr>
        <p:blipFill>
          <a:blip r:embed="rId3"/>
          <a:stretch>
            <a:fillRect/>
          </a:stretch>
        </p:blipFill>
        <p:spPr>
          <a:xfrm>
            <a:off x="584326" y="1601843"/>
            <a:ext cx="5838245" cy="2697417"/>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11" name="Picture 10">
            <a:extLst>
              <a:ext uri="{FF2B5EF4-FFF2-40B4-BE49-F238E27FC236}">
                <a16:creationId xmlns:a16="http://schemas.microsoft.com/office/drawing/2014/main" id="{330B6322-50C0-97B6-DDBE-A9DB72FC3D4D}"/>
              </a:ext>
            </a:extLst>
          </p:cNvPr>
          <p:cNvPicPr>
            <a:picLocks noChangeAspect="1"/>
          </p:cNvPicPr>
          <p:nvPr/>
        </p:nvPicPr>
        <p:blipFill>
          <a:blip r:embed="rId4"/>
          <a:srcRect t="9906" b="13324"/>
          <a:stretch/>
        </p:blipFill>
        <p:spPr>
          <a:xfrm>
            <a:off x="4542472" y="321529"/>
            <a:ext cx="3267075" cy="1062991"/>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14" name="Picture 13">
            <a:extLst>
              <a:ext uri="{FF2B5EF4-FFF2-40B4-BE49-F238E27FC236}">
                <a16:creationId xmlns:a16="http://schemas.microsoft.com/office/drawing/2014/main" id="{D8B9DDF9-8DC1-D892-BC2F-173316A16826}"/>
              </a:ext>
            </a:extLst>
          </p:cNvPr>
          <p:cNvPicPr>
            <a:picLocks noChangeAspect="1"/>
          </p:cNvPicPr>
          <p:nvPr/>
        </p:nvPicPr>
        <p:blipFill>
          <a:blip r:embed="rId5"/>
          <a:stretch>
            <a:fillRect/>
          </a:stretch>
        </p:blipFill>
        <p:spPr>
          <a:xfrm rot="248844">
            <a:off x="1423307" y="4700804"/>
            <a:ext cx="5625224" cy="1781701"/>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17" name="Picture 16">
            <a:extLst>
              <a:ext uri="{FF2B5EF4-FFF2-40B4-BE49-F238E27FC236}">
                <a16:creationId xmlns:a16="http://schemas.microsoft.com/office/drawing/2014/main" id="{13EE6181-D57C-9934-6E0F-D1EDF77B8381}"/>
              </a:ext>
            </a:extLst>
          </p:cNvPr>
          <p:cNvPicPr>
            <a:picLocks noChangeAspect="1"/>
          </p:cNvPicPr>
          <p:nvPr/>
        </p:nvPicPr>
        <p:blipFill>
          <a:blip r:embed="rId6"/>
          <a:stretch>
            <a:fillRect/>
          </a:stretch>
        </p:blipFill>
        <p:spPr>
          <a:xfrm>
            <a:off x="7976905" y="4580338"/>
            <a:ext cx="3139712" cy="1786283"/>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Tree>
    <p:extLst>
      <p:ext uri="{BB962C8B-B14F-4D97-AF65-F5344CB8AC3E}">
        <p14:creationId xmlns:p14="http://schemas.microsoft.com/office/powerpoint/2010/main" val="35601493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nodeType="click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additive="base">
                                        <p:cTn id="13" dur="500" fill="hold"/>
                                        <p:tgtEl>
                                          <p:spTgt spid="7"/>
                                        </p:tgtEl>
                                        <p:attrNameLst>
                                          <p:attrName>ppt_x</p:attrName>
                                        </p:attrNameLst>
                                      </p:cBhvr>
                                      <p:tavLst>
                                        <p:tav tm="0">
                                          <p:val>
                                            <p:strVal val="1+#ppt_w/2"/>
                                          </p:val>
                                        </p:tav>
                                        <p:tav tm="100000">
                                          <p:val>
                                            <p:strVal val="#ppt_x"/>
                                          </p:val>
                                        </p:tav>
                                      </p:tavLst>
                                    </p:anim>
                                    <p:anim calcmode="lin" valueType="num">
                                      <p:cBhvr additive="base">
                                        <p:cTn id="14" dur="500" fill="hold"/>
                                        <p:tgtEl>
                                          <p:spTgt spid="7"/>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500" fill="hold"/>
                                        <p:tgtEl>
                                          <p:spTgt spid="14"/>
                                        </p:tgtEl>
                                        <p:attrNameLst>
                                          <p:attrName>ppt_x</p:attrName>
                                        </p:attrNameLst>
                                      </p:cBhvr>
                                      <p:tavLst>
                                        <p:tav tm="0">
                                          <p:val>
                                            <p:strVal val="#ppt_x"/>
                                          </p:val>
                                        </p:tav>
                                        <p:tav tm="100000">
                                          <p:val>
                                            <p:strVal val="#ppt_x"/>
                                          </p:val>
                                        </p:tav>
                                      </p:tavLst>
                                    </p:anim>
                                    <p:anim calcmode="lin" valueType="num">
                                      <p:cBhvr additive="base">
                                        <p:cTn id="20" dur="500" fill="hold"/>
                                        <p:tgtEl>
                                          <p:spTgt spid="14"/>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6" fill="hold" nodeType="clickEffect">
                                  <p:stCondLst>
                                    <p:cond delay="0"/>
                                  </p:stCondLst>
                                  <p:childTnLst>
                                    <p:set>
                                      <p:cBhvr>
                                        <p:cTn id="24" dur="1" fill="hold">
                                          <p:stCondLst>
                                            <p:cond delay="0"/>
                                          </p:stCondLst>
                                        </p:cTn>
                                        <p:tgtEl>
                                          <p:spTgt spid="17"/>
                                        </p:tgtEl>
                                        <p:attrNameLst>
                                          <p:attrName>style.visibility</p:attrName>
                                        </p:attrNameLst>
                                      </p:cBhvr>
                                      <p:to>
                                        <p:strVal val="visible"/>
                                      </p:to>
                                    </p:set>
                                    <p:anim calcmode="lin" valueType="num">
                                      <p:cBhvr additive="base">
                                        <p:cTn id="25" dur="500" fill="hold"/>
                                        <p:tgtEl>
                                          <p:spTgt spid="17"/>
                                        </p:tgtEl>
                                        <p:attrNameLst>
                                          <p:attrName>ppt_x</p:attrName>
                                        </p:attrNameLst>
                                      </p:cBhvr>
                                      <p:tavLst>
                                        <p:tav tm="0">
                                          <p:val>
                                            <p:strVal val="1+#ppt_w/2"/>
                                          </p:val>
                                        </p:tav>
                                        <p:tav tm="100000">
                                          <p:val>
                                            <p:strVal val="#ppt_x"/>
                                          </p:val>
                                        </p:tav>
                                      </p:tavLst>
                                    </p:anim>
                                    <p:anim calcmode="lin" valueType="num">
                                      <p:cBhvr additive="base">
                                        <p:cTn id="26" dur="500" fill="hold"/>
                                        <p:tgtEl>
                                          <p:spTgt spid="1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D71724C2-0D01-F2BB-23A4-15B30C7BE353}"/>
              </a:ext>
            </a:extLst>
          </p:cNvPr>
          <p:cNvGraphicFramePr>
            <a:graphicFrameLocks noGrp="1"/>
          </p:cNvGraphicFramePr>
          <p:nvPr>
            <p:extLst>
              <p:ext uri="{D42A27DB-BD31-4B8C-83A1-F6EECF244321}">
                <p14:modId xmlns:p14="http://schemas.microsoft.com/office/powerpoint/2010/main" val="500900120"/>
              </p:ext>
            </p:extLst>
          </p:nvPr>
        </p:nvGraphicFramePr>
        <p:xfrm>
          <a:off x="1514475" y="1"/>
          <a:ext cx="9153525" cy="6864973"/>
        </p:xfrm>
        <a:graphic>
          <a:graphicData uri="http://schemas.openxmlformats.org/drawingml/2006/table">
            <a:tbl>
              <a:tblPr firstRow="1" bandRow="1">
                <a:tableStyleId>{5C22544A-7EE6-4342-B048-85BDC9FD1C3A}</a:tableStyleId>
              </a:tblPr>
              <a:tblGrid>
                <a:gridCol w="3109186">
                  <a:extLst>
                    <a:ext uri="{9D8B030D-6E8A-4147-A177-3AD203B41FA5}">
                      <a16:colId xmlns:a16="http://schemas.microsoft.com/office/drawing/2014/main" val="20000"/>
                    </a:ext>
                  </a:extLst>
                </a:gridCol>
                <a:gridCol w="3254644">
                  <a:extLst>
                    <a:ext uri="{9D8B030D-6E8A-4147-A177-3AD203B41FA5}">
                      <a16:colId xmlns:a16="http://schemas.microsoft.com/office/drawing/2014/main" val="20001"/>
                    </a:ext>
                  </a:extLst>
                </a:gridCol>
                <a:gridCol w="2789695">
                  <a:extLst>
                    <a:ext uri="{9D8B030D-6E8A-4147-A177-3AD203B41FA5}">
                      <a16:colId xmlns:a16="http://schemas.microsoft.com/office/drawing/2014/main" val="20002"/>
                    </a:ext>
                  </a:extLst>
                </a:gridCol>
              </a:tblGrid>
              <a:tr h="661611">
                <a:tc gridSpan="3">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3000" i="1" dirty="0"/>
                        <a:t>C</a:t>
                      </a:r>
                      <a:r>
                        <a:rPr lang="en-US" sz="3000" b="0" i="1" dirty="0"/>
                        <a:t>ommon types of Sickle Cell Disorders</a:t>
                      </a:r>
                    </a:p>
                  </a:txBody>
                  <a:tcPr marT="38249" marB="38249"/>
                </a:tc>
                <a:tc hMerge="1">
                  <a:txBody>
                    <a:bodyPr/>
                    <a:lstStyle/>
                    <a:p>
                      <a:endParaRPr lang="en-US" sz="2800" i="1" dirty="0">
                        <a:latin typeface="+mn-lt"/>
                      </a:endParaRPr>
                    </a:p>
                  </a:txBody>
                  <a:tcPr/>
                </a:tc>
                <a:tc hMerge="1">
                  <a:txBody>
                    <a:bodyPr/>
                    <a:lstStyle/>
                    <a:p>
                      <a:endParaRPr lang="en-US" sz="2800" i="1" dirty="0">
                        <a:latin typeface="+mn-lt"/>
                      </a:endParaRPr>
                    </a:p>
                  </a:txBody>
                  <a:tcPr/>
                </a:tc>
                <a:extLst>
                  <a:ext uri="{0D108BD9-81ED-4DB2-BD59-A6C34878D82A}">
                    <a16:rowId xmlns:a16="http://schemas.microsoft.com/office/drawing/2014/main" val="10000"/>
                  </a:ext>
                </a:extLst>
              </a:tr>
              <a:tr h="892484">
                <a:tc>
                  <a:txBody>
                    <a:bodyPr/>
                    <a:lstStyle/>
                    <a:p>
                      <a:r>
                        <a:rPr lang="en-US" sz="2700" i="1" dirty="0">
                          <a:latin typeface="Aparajita" pitchFamily="34" charset="0"/>
                          <a:cs typeface="Aparajita" pitchFamily="34" charset="0"/>
                        </a:rPr>
                        <a:t>Type of </a:t>
                      </a:r>
                      <a:r>
                        <a:rPr lang="en-US" sz="2700" i="1" dirty="0" err="1">
                          <a:latin typeface="Aparajita" pitchFamily="34" charset="0"/>
                          <a:cs typeface="Aparajita" pitchFamily="34" charset="0"/>
                        </a:rPr>
                        <a:t>anaemia</a:t>
                      </a:r>
                      <a:endParaRPr lang="en-US" sz="2700" i="1" dirty="0">
                        <a:latin typeface="Aparajita" pitchFamily="34" charset="0"/>
                        <a:cs typeface="Aparajita" pitchFamily="34" charset="0"/>
                      </a:endParaRPr>
                    </a:p>
                  </a:txBody>
                  <a:tcPr marT="38249" marB="38249">
                    <a:solidFill>
                      <a:srgbClr val="FF0000"/>
                    </a:solidFill>
                  </a:tcPr>
                </a:tc>
                <a:tc>
                  <a:txBody>
                    <a:bodyPr/>
                    <a:lstStyle/>
                    <a:p>
                      <a:r>
                        <a:rPr lang="en-US" sz="2700" i="1" dirty="0">
                          <a:latin typeface="Aparajita" pitchFamily="34" charset="0"/>
                          <a:cs typeface="Aparajita" pitchFamily="34" charset="0"/>
                        </a:rPr>
                        <a:t>Hemoglobin variation</a:t>
                      </a:r>
                    </a:p>
                  </a:txBody>
                  <a:tcPr marT="38249" marB="38249">
                    <a:solidFill>
                      <a:srgbClr val="FF0000"/>
                    </a:solidFill>
                  </a:tcPr>
                </a:tc>
                <a:tc>
                  <a:txBody>
                    <a:bodyPr/>
                    <a:lstStyle/>
                    <a:p>
                      <a:r>
                        <a:rPr lang="en-US" sz="2700" i="1" dirty="0">
                          <a:latin typeface="Aparajita" pitchFamily="34" charset="0"/>
                          <a:cs typeface="Aparajita" pitchFamily="34" charset="0"/>
                        </a:rPr>
                        <a:t>comment</a:t>
                      </a:r>
                    </a:p>
                  </a:txBody>
                  <a:tcPr marT="38249" marB="38249">
                    <a:solidFill>
                      <a:srgbClr val="FF0000"/>
                    </a:solidFill>
                  </a:tcPr>
                </a:tc>
                <a:extLst>
                  <a:ext uri="{0D108BD9-81ED-4DB2-BD59-A6C34878D82A}">
                    <a16:rowId xmlns:a16="http://schemas.microsoft.com/office/drawing/2014/main" val="10001"/>
                  </a:ext>
                </a:extLst>
              </a:tr>
              <a:tr h="1147479">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300" b="0" i="1" dirty="0">
                          <a:latin typeface="Aparajita" pitchFamily="34" charset="0"/>
                          <a:cs typeface="Aparajita" pitchFamily="34" charset="0"/>
                        </a:rPr>
                        <a:t>Sickle Cell Anemia </a:t>
                      </a:r>
                    </a:p>
                    <a:p>
                      <a:endParaRPr lang="en-US" sz="2300" i="1" dirty="0">
                        <a:latin typeface="Aparajita" pitchFamily="34" charset="0"/>
                        <a:cs typeface="Aparajita" pitchFamily="34" charset="0"/>
                      </a:endParaRPr>
                    </a:p>
                  </a:txBody>
                  <a:tcPr marT="38249" marB="38249"/>
                </a:tc>
                <a:tc>
                  <a:txBody>
                    <a:bodyPr/>
                    <a:lstStyle/>
                    <a:p>
                      <a:r>
                        <a:rPr lang="en-US" sz="2300" b="0" i="1" dirty="0">
                          <a:latin typeface="Aparajita" pitchFamily="34" charset="0"/>
                          <a:cs typeface="Aparajita" pitchFamily="34" charset="0"/>
                        </a:rPr>
                        <a:t>Sickle </a:t>
                      </a:r>
                      <a:r>
                        <a:rPr lang="en-US" sz="2300" b="0" i="1" dirty="0" err="1">
                          <a:latin typeface="Aparajita" pitchFamily="34" charset="0"/>
                          <a:cs typeface="Aparajita" pitchFamily="34" charset="0"/>
                        </a:rPr>
                        <a:t>haemoglobin</a:t>
                      </a:r>
                      <a:r>
                        <a:rPr lang="en-US" sz="2300" b="0" i="1" dirty="0">
                          <a:latin typeface="Aparajita" pitchFamily="34" charset="0"/>
                          <a:cs typeface="Aparajita" pitchFamily="34" charset="0"/>
                        </a:rPr>
                        <a:t> (</a:t>
                      </a:r>
                      <a:r>
                        <a:rPr lang="en-US" sz="2300" b="0" i="1" dirty="0" err="1">
                          <a:latin typeface="Aparajita" pitchFamily="34" charset="0"/>
                          <a:cs typeface="Aparajita" pitchFamily="34" charset="0"/>
                        </a:rPr>
                        <a:t>HbS</a:t>
                      </a:r>
                      <a:r>
                        <a:rPr lang="en-US" sz="2300" b="0" i="1" dirty="0">
                          <a:latin typeface="Aparajita" pitchFamily="34" charset="0"/>
                          <a:cs typeface="Aparajita" pitchFamily="34" charset="0"/>
                        </a:rPr>
                        <a:t>) + Sickle </a:t>
                      </a:r>
                      <a:r>
                        <a:rPr lang="en-US" sz="2300" b="0" i="1" dirty="0" err="1">
                          <a:latin typeface="Aparajita" pitchFamily="34" charset="0"/>
                          <a:cs typeface="Aparajita" pitchFamily="34" charset="0"/>
                        </a:rPr>
                        <a:t>haemoglobin</a:t>
                      </a:r>
                      <a:r>
                        <a:rPr lang="en-US" sz="2300" b="0" i="1" dirty="0">
                          <a:latin typeface="Aparajita" pitchFamily="34" charset="0"/>
                          <a:cs typeface="Aparajita" pitchFamily="34" charset="0"/>
                        </a:rPr>
                        <a:t> </a:t>
                      </a:r>
                      <a:endParaRPr lang="en-US" sz="2300" i="1" dirty="0">
                        <a:latin typeface="Aparajita" pitchFamily="34" charset="0"/>
                        <a:cs typeface="Aparajita" pitchFamily="34" charset="0"/>
                      </a:endParaRPr>
                    </a:p>
                  </a:txBody>
                  <a:tcPr marT="38249" marB="38249"/>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300" b="0" i="1" dirty="0">
                          <a:latin typeface="Aparajita" pitchFamily="34" charset="0"/>
                          <a:cs typeface="Aparajita" pitchFamily="34" charset="0"/>
                        </a:rPr>
                        <a:t>Most Severe – No </a:t>
                      </a:r>
                      <a:r>
                        <a:rPr lang="en-US" sz="2300" b="0" i="1" dirty="0" err="1">
                          <a:latin typeface="Aparajita" pitchFamily="34" charset="0"/>
                          <a:cs typeface="Aparajita" pitchFamily="34" charset="0"/>
                        </a:rPr>
                        <a:t>HbA</a:t>
                      </a:r>
                      <a:endParaRPr lang="en-US" sz="2300" b="0" i="1" dirty="0">
                        <a:latin typeface="Aparajita" pitchFamily="34" charset="0"/>
                        <a:cs typeface="Aparajita" pitchFamily="34" charset="0"/>
                      </a:endParaRPr>
                    </a:p>
                  </a:txBody>
                  <a:tcPr marT="38249" marB="38249"/>
                </a:tc>
                <a:extLst>
                  <a:ext uri="{0D108BD9-81ED-4DB2-BD59-A6C34878D82A}">
                    <a16:rowId xmlns:a16="http://schemas.microsoft.com/office/drawing/2014/main" val="10002"/>
                  </a:ext>
                </a:extLst>
              </a:tr>
              <a:tr h="1504473">
                <a:tc>
                  <a:txBody>
                    <a:bodyPr/>
                    <a:lstStyle/>
                    <a:p>
                      <a:pPr marL="0" indent="0">
                        <a:lnSpc>
                          <a:spcPct val="80000"/>
                        </a:lnSpc>
                        <a:buSzTx/>
                        <a:buFont typeface="Wingdings" pitchFamily="2" charset="2"/>
                        <a:buNone/>
                      </a:pPr>
                      <a:r>
                        <a:rPr lang="en-US" sz="2300" i="1" dirty="0">
                          <a:latin typeface="Aparajita" pitchFamily="34" charset="0"/>
                          <a:cs typeface="Aparajita" pitchFamily="34" charset="0"/>
                        </a:rPr>
                        <a:t>Hemoglobin S-Beta </a:t>
                      </a:r>
                      <a:r>
                        <a:rPr lang="en-US" sz="2300" i="1" dirty="0" err="1">
                          <a:latin typeface="Aparajita" pitchFamily="34" charset="0"/>
                          <a:cs typeface="Aparajita" pitchFamily="34" charset="0"/>
                        </a:rPr>
                        <a:t>thalassemia</a:t>
                      </a:r>
                      <a:r>
                        <a:rPr lang="en-US" sz="2300" i="1" dirty="0">
                          <a:latin typeface="Aparajita" pitchFamily="34" charset="0"/>
                          <a:cs typeface="Aparajita" pitchFamily="34" charset="0"/>
                        </a:rPr>
                        <a:t> </a:t>
                      </a:r>
                    </a:p>
                    <a:p>
                      <a:endParaRPr lang="en-US" sz="2300" i="1" dirty="0">
                        <a:latin typeface="Aparajita" pitchFamily="34" charset="0"/>
                        <a:cs typeface="Aparajita" pitchFamily="34" charset="0"/>
                      </a:endParaRPr>
                    </a:p>
                  </a:txBody>
                  <a:tcPr marT="38249" marB="38249"/>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2300" i="1" dirty="0">
                          <a:latin typeface="Aparajita" pitchFamily="34" charset="0"/>
                          <a:cs typeface="Aparajita" pitchFamily="34" charset="0"/>
                        </a:rPr>
                        <a:t>Sickle </a:t>
                      </a:r>
                      <a:r>
                        <a:rPr lang="en-US" sz="2300" i="1" dirty="0" err="1">
                          <a:latin typeface="Aparajita" pitchFamily="34" charset="0"/>
                          <a:cs typeface="Aparajita" pitchFamily="34" charset="0"/>
                        </a:rPr>
                        <a:t>haemoglobin</a:t>
                      </a:r>
                      <a:r>
                        <a:rPr lang="en-US" sz="2300" i="1" dirty="0">
                          <a:latin typeface="Aparajita" pitchFamily="34" charset="0"/>
                          <a:cs typeface="Aparajita" pitchFamily="34" charset="0"/>
                        </a:rPr>
                        <a:t> (</a:t>
                      </a:r>
                      <a:r>
                        <a:rPr lang="en-US" sz="2300" i="1" dirty="0" err="1">
                          <a:latin typeface="Aparajita" pitchFamily="34" charset="0"/>
                          <a:cs typeface="Aparajita" pitchFamily="34" charset="0"/>
                        </a:rPr>
                        <a:t>HbS</a:t>
                      </a:r>
                      <a:r>
                        <a:rPr lang="en-US" sz="2300" i="1" dirty="0">
                          <a:latin typeface="Aparajita" pitchFamily="34" charset="0"/>
                          <a:cs typeface="Aparajita" pitchFamily="34" charset="0"/>
                        </a:rPr>
                        <a:t>) + reduced </a:t>
                      </a:r>
                      <a:r>
                        <a:rPr lang="en-US" sz="2300" i="1" dirty="0" err="1">
                          <a:latin typeface="Aparajita" pitchFamily="34" charset="0"/>
                          <a:cs typeface="Aparajita" pitchFamily="34" charset="0"/>
                        </a:rPr>
                        <a:t>HbA</a:t>
                      </a:r>
                      <a:endParaRPr lang="en-US" sz="2300" i="1" dirty="0">
                        <a:latin typeface="Aparajita" pitchFamily="34" charset="0"/>
                        <a:cs typeface="Aparajita" pitchFamily="34" charset="0"/>
                      </a:endParaRPr>
                    </a:p>
                    <a:p>
                      <a:endParaRPr lang="en-US" sz="2300" i="1" dirty="0">
                        <a:latin typeface="Aparajita" pitchFamily="34" charset="0"/>
                        <a:cs typeface="Aparajita" pitchFamily="34" charset="0"/>
                      </a:endParaRPr>
                    </a:p>
                  </a:txBody>
                  <a:tcPr marT="38249" marB="38249"/>
                </a:tc>
                <a:tc>
                  <a:txBody>
                    <a:bodyPr/>
                    <a:lstStyle/>
                    <a:p>
                      <a:r>
                        <a:rPr lang="en-US" sz="2300" i="1" dirty="0">
                          <a:latin typeface="Aparajita" pitchFamily="34" charset="0"/>
                          <a:cs typeface="Aparajita" pitchFamily="34" charset="0"/>
                        </a:rPr>
                        <a:t>Mild form of Sickle Cell Disorder </a:t>
                      </a:r>
                    </a:p>
                  </a:txBody>
                  <a:tcPr marT="38249" marB="38249"/>
                </a:tc>
                <a:extLst>
                  <a:ext uri="{0D108BD9-81ED-4DB2-BD59-A6C34878D82A}">
                    <a16:rowId xmlns:a16="http://schemas.microsoft.com/office/drawing/2014/main" val="10003"/>
                  </a:ext>
                </a:extLst>
              </a:tr>
              <a:tr h="1504473">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300" i="1" dirty="0">
                          <a:latin typeface="Aparajita" pitchFamily="34" charset="0"/>
                          <a:cs typeface="Aparajita" pitchFamily="34" charset="0"/>
                        </a:rPr>
                        <a:t>Hemoglobin S-C disease</a:t>
                      </a:r>
                    </a:p>
                    <a:p>
                      <a:endParaRPr lang="en-US" sz="2300" i="1" dirty="0">
                        <a:latin typeface="Aparajita" pitchFamily="34" charset="0"/>
                        <a:cs typeface="Aparajita" pitchFamily="34" charset="0"/>
                      </a:endParaRPr>
                    </a:p>
                  </a:txBody>
                  <a:tcPr marT="38249" marB="38249"/>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2300" i="1" dirty="0">
                          <a:latin typeface="Aparajita" pitchFamily="34" charset="0"/>
                          <a:cs typeface="Aparajita" pitchFamily="34" charset="0"/>
                        </a:rPr>
                        <a:t>Sickle </a:t>
                      </a:r>
                      <a:r>
                        <a:rPr lang="en-US" sz="2300" i="1" dirty="0" err="1">
                          <a:latin typeface="Aparajita" pitchFamily="34" charset="0"/>
                          <a:cs typeface="Aparajita" pitchFamily="34" charset="0"/>
                        </a:rPr>
                        <a:t>haemoglobin</a:t>
                      </a:r>
                      <a:r>
                        <a:rPr lang="en-US" sz="2300" i="1" dirty="0">
                          <a:latin typeface="Aparajita" pitchFamily="34" charset="0"/>
                          <a:cs typeface="Aparajita" pitchFamily="34" charset="0"/>
                        </a:rPr>
                        <a:t> (</a:t>
                      </a:r>
                      <a:r>
                        <a:rPr lang="en-US" sz="2300" i="1" dirty="0" err="1">
                          <a:latin typeface="Aparajita" pitchFamily="34" charset="0"/>
                          <a:cs typeface="Aparajita" pitchFamily="34" charset="0"/>
                        </a:rPr>
                        <a:t>HbS</a:t>
                      </a:r>
                      <a:r>
                        <a:rPr lang="en-US" sz="2300" i="1" dirty="0">
                          <a:latin typeface="Aparajita" pitchFamily="34" charset="0"/>
                          <a:cs typeface="Aparajita" pitchFamily="34" charset="0"/>
                        </a:rPr>
                        <a:t>) + (</a:t>
                      </a:r>
                      <a:r>
                        <a:rPr lang="en-US" sz="2300" i="1" dirty="0" err="1">
                          <a:latin typeface="Aparajita" pitchFamily="34" charset="0"/>
                          <a:cs typeface="Aparajita" pitchFamily="34" charset="0"/>
                        </a:rPr>
                        <a:t>HbC</a:t>
                      </a:r>
                      <a:r>
                        <a:rPr lang="en-US" sz="2300" i="1" dirty="0">
                          <a:latin typeface="Aparajita" pitchFamily="34" charset="0"/>
                          <a:cs typeface="Aparajita" pitchFamily="34" charset="0"/>
                        </a:rPr>
                        <a:t>)</a:t>
                      </a:r>
                    </a:p>
                    <a:p>
                      <a:endParaRPr lang="en-US" sz="2300" i="1" dirty="0">
                        <a:latin typeface="Aparajita" pitchFamily="34" charset="0"/>
                        <a:cs typeface="Aparajita" pitchFamily="34" charset="0"/>
                      </a:endParaRPr>
                    </a:p>
                  </a:txBody>
                  <a:tcPr marT="38249" marB="38249"/>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300" i="1" dirty="0">
                          <a:latin typeface="Aparajita" pitchFamily="34" charset="0"/>
                          <a:cs typeface="Aparajita" pitchFamily="34" charset="0"/>
                        </a:rPr>
                        <a:t>Mild form of Sickle Cell Disorder </a:t>
                      </a:r>
                    </a:p>
                    <a:p>
                      <a:endParaRPr lang="en-US" sz="2300" i="1" dirty="0">
                        <a:latin typeface="Aparajita" pitchFamily="34" charset="0"/>
                        <a:cs typeface="Aparajita" pitchFamily="34" charset="0"/>
                      </a:endParaRPr>
                    </a:p>
                  </a:txBody>
                  <a:tcPr marT="38249" marB="38249"/>
                </a:tc>
                <a:extLst>
                  <a:ext uri="{0D108BD9-81ED-4DB2-BD59-A6C34878D82A}">
                    <a16:rowId xmlns:a16="http://schemas.microsoft.com/office/drawing/2014/main" val="10004"/>
                  </a:ext>
                </a:extLst>
              </a:tr>
              <a:tr h="1147479">
                <a:tc>
                  <a:txBody>
                    <a:bodyPr/>
                    <a:lstStyle/>
                    <a:p>
                      <a:r>
                        <a:rPr lang="en-US" sz="2300" i="1" dirty="0">
                          <a:latin typeface="Aparajita" pitchFamily="34" charset="0"/>
                          <a:cs typeface="Aparajita" pitchFamily="34" charset="0"/>
                        </a:rPr>
                        <a:t>Sickle Cell Trait</a:t>
                      </a:r>
                    </a:p>
                  </a:txBody>
                  <a:tcPr marT="38249" marB="38249"/>
                </a:tc>
                <a:tc>
                  <a:txBody>
                    <a:bodyPr/>
                    <a:lstStyle/>
                    <a:p>
                      <a:r>
                        <a:rPr lang="en-US" sz="2300" i="1" dirty="0">
                          <a:latin typeface="Aparajita" pitchFamily="34" charset="0"/>
                          <a:cs typeface="Aparajita" pitchFamily="34" charset="0"/>
                        </a:rPr>
                        <a:t>Sickle </a:t>
                      </a:r>
                      <a:r>
                        <a:rPr lang="en-US" sz="2300" i="1" dirty="0" err="1">
                          <a:latin typeface="Aparajita" pitchFamily="34" charset="0"/>
                          <a:cs typeface="Aparajita" pitchFamily="34" charset="0"/>
                        </a:rPr>
                        <a:t>haemoglobin</a:t>
                      </a:r>
                      <a:r>
                        <a:rPr lang="en-US" sz="2300" i="1" dirty="0">
                          <a:latin typeface="Aparajita" pitchFamily="34" charset="0"/>
                          <a:cs typeface="Aparajita" pitchFamily="34" charset="0"/>
                        </a:rPr>
                        <a:t> (S) + Normal </a:t>
                      </a:r>
                      <a:r>
                        <a:rPr lang="en-US" sz="2300" i="1" dirty="0" err="1">
                          <a:latin typeface="Aparajita" pitchFamily="34" charset="0"/>
                          <a:cs typeface="Aparajita" pitchFamily="34" charset="0"/>
                        </a:rPr>
                        <a:t>haemoglobin</a:t>
                      </a:r>
                      <a:r>
                        <a:rPr lang="en-US" sz="2300" i="1" dirty="0">
                          <a:latin typeface="Aparajita" pitchFamily="34" charset="0"/>
                          <a:cs typeface="Aparajita" pitchFamily="34" charset="0"/>
                        </a:rPr>
                        <a:t> (A)</a:t>
                      </a:r>
                    </a:p>
                  </a:txBody>
                  <a:tcPr marT="38249" marB="38249"/>
                </a:tc>
                <a:tc>
                  <a:txBody>
                    <a:bodyPr/>
                    <a:lstStyle/>
                    <a:p>
                      <a:endParaRPr lang="en-US" sz="2300" i="1" dirty="0">
                        <a:latin typeface="+mn-lt"/>
                      </a:endParaRPr>
                    </a:p>
                  </a:txBody>
                  <a:tcPr marT="38249" marB="38249"/>
                </a:tc>
                <a:extLst>
                  <a:ext uri="{0D108BD9-81ED-4DB2-BD59-A6C34878D82A}">
                    <a16:rowId xmlns:a16="http://schemas.microsoft.com/office/drawing/2014/main" val="10005"/>
                  </a:ext>
                </a:extLst>
              </a:tr>
            </a:tbl>
          </a:graphicData>
        </a:graphic>
      </p:graphicFrame>
      <p:cxnSp>
        <p:nvCxnSpPr>
          <p:cNvPr id="4" name="Straight Connector 3">
            <a:extLst>
              <a:ext uri="{FF2B5EF4-FFF2-40B4-BE49-F238E27FC236}">
                <a16:creationId xmlns:a16="http://schemas.microsoft.com/office/drawing/2014/main" id="{82BE7E07-023E-3898-E97E-ED7E83E8FE74}"/>
              </a:ext>
            </a:extLst>
          </p:cNvPr>
          <p:cNvCxnSpPr/>
          <p:nvPr/>
        </p:nvCxnSpPr>
        <p:spPr>
          <a:xfrm>
            <a:off x="1524000" y="4243388"/>
            <a:ext cx="9034463" cy="1371600"/>
          </a:xfrm>
          <a:prstGeom prst="line">
            <a:avLst/>
          </a:prstGeom>
          <a:ln w="57150">
            <a:solidFill>
              <a:srgbClr val="0070C0"/>
            </a:solidFill>
          </a:ln>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7E08862E-B212-59BF-4E13-4E32AC3A3B88}"/>
              </a:ext>
            </a:extLst>
          </p:cNvPr>
          <p:cNvCxnSpPr/>
          <p:nvPr/>
        </p:nvCxnSpPr>
        <p:spPr>
          <a:xfrm flipV="1">
            <a:off x="1524000" y="4243388"/>
            <a:ext cx="9153525" cy="1428750"/>
          </a:xfrm>
          <a:prstGeom prst="line">
            <a:avLst/>
          </a:prstGeom>
          <a:ln w="57150">
            <a:solidFill>
              <a:srgbClr val="0070C0"/>
            </a:solidFill>
          </a:ln>
        </p:spPr>
        <p:style>
          <a:lnRef idx="2">
            <a:schemeClr val="accent1"/>
          </a:lnRef>
          <a:fillRef idx="0">
            <a:schemeClr val="accent1"/>
          </a:fillRef>
          <a:effectRef idx="1">
            <a:schemeClr val="accent1"/>
          </a:effectRef>
          <a:fontRef idx="minor">
            <a:schemeClr val="tx1"/>
          </a:fontRef>
        </p:style>
      </p:cxn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90CFEF-4A49-EC58-2AFA-0A935C6E7A8D}"/>
              </a:ext>
            </a:extLst>
          </p:cNvPr>
          <p:cNvSpPr>
            <a:spLocks noGrp="1"/>
          </p:cNvSpPr>
          <p:nvPr>
            <p:ph type="title"/>
          </p:nvPr>
        </p:nvSpPr>
        <p:spPr>
          <a:xfrm>
            <a:off x="797008" y="699986"/>
            <a:ext cx="2621105" cy="2323815"/>
          </a:xfrm>
          <a:custGeom>
            <a:avLst/>
            <a:gdLst>
              <a:gd name="connsiteX0" fmla="*/ 0 w 2621105"/>
              <a:gd name="connsiteY0" fmla="*/ 1161908 h 2323815"/>
              <a:gd name="connsiteX1" fmla="*/ 1310553 w 2621105"/>
              <a:gd name="connsiteY1" fmla="*/ 0 h 2323815"/>
              <a:gd name="connsiteX2" fmla="*/ 2621106 w 2621105"/>
              <a:gd name="connsiteY2" fmla="*/ 1161908 h 2323815"/>
              <a:gd name="connsiteX3" fmla="*/ 1310553 w 2621105"/>
              <a:gd name="connsiteY3" fmla="*/ 2323816 h 2323815"/>
              <a:gd name="connsiteX4" fmla="*/ 0 w 2621105"/>
              <a:gd name="connsiteY4" fmla="*/ 1161908 h 23238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21105" h="2323815" fill="none" extrusionOk="0">
                <a:moveTo>
                  <a:pt x="0" y="1161908"/>
                </a:moveTo>
                <a:cubicBezTo>
                  <a:pt x="-102231" y="478321"/>
                  <a:pt x="539187" y="85956"/>
                  <a:pt x="1310553" y="0"/>
                </a:cubicBezTo>
                <a:cubicBezTo>
                  <a:pt x="2086866" y="60302"/>
                  <a:pt x="2724764" y="626171"/>
                  <a:pt x="2621106" y="1161908"/>
                </a:cubicBezTo>
                <a:cubicBezTo>
                  <a:pt x="2468727" y="1756916"/>
                  <a:pt x="2077416" y="2373549"/>
                  <a:pt x="1310553" y="2323816"/>
                </a:cubicBezTo>
                <a:cubicBezTo>
                  <a:pt x="559937" y="2360074"/>
                  <a:pt x="-33861" y="1772553"/>
                  <a:pt x="0" y="1161908"/>
                </a:cubicBezTo>
                <a:close/>
              </a:path>
              <a:path w="2621105" h="2323815" stroke="0" extrusionOk="0">
                <a:moveTo>
                  <a:pt x="0" y="1161908"/>
                </a:moveTo>
                <a:cubicBezTo>
                  <a:pt x="111217" y="356510"/>
                  <a:pt x="598114" y="17805"/>
                  <a:pt x="1310553" y="0"/>
                </a:cubicBezTo>
                <a:cubicBezTo>
                  <a:pt x="1971242" y="-175667"/>
                  <a:pt x="2660142" y="543553"/>
                  <a:pt x="2621106" y="1161908"/>
                </a:cubicBezTo>
                <a:cubicBezTo>
                  <a:pt x="2612619" y="1711002"/>
                  <a:pt x="1951215" y="2361261"/>
                  <a:pt x="1310553" y="2323816"/>
                </a:cubicBezTo>
                <a:cubicBezTo>
                  <a:pt x="556009" y="2176303"/>
                  <a:pt x="24352" y="1838728"/>
                  <a:pt x="0" y="1161908"/>
                </a:cubicBezTo>
                <a:close/>
              </a:path>
            </a:pathLst>
          </a:custGeom>
          <a:ln w="57150">
            <a:prstDash val="dashDot"/>
            <a:extLst>
              <a:ext uri="{C807C97D-BFC1-408E-A445-0C87EB9F89A2}">
                <ask:lineSketchStyleProps xmlns:ask="http://schemas.microsoft.com/office/drawing/2018/sketchyshapes" sd="1617256088">
                  <a:prstGeom prst="ellipse">
                    <a:avLst/>
                  </a:prstGeom>
                  <ask:type>
                    <ask:lineSketchScribble/>
                  </ask:type>
                </ask:lineSketchStyleProps>
              </a:ext>
            </a:extLst>
          </a:ln>
        </p:spPr>
        <p:style>
          <a:lnRef idx="2">
            <a:schemeClr val="accent2"/>
          </a:lnRef>
          <a:fillRef idx="1">
            <a:schemeClr val="lt1"/>
          </a:fillRef>
          <a:effectRef idx="0">
            <a:schemeClr val="accent2"/>
          </a:effectRef>
          <a:fontRef idx="minor">
            <a:schemeClr val="dk1"/>
          </a:fontRef>
        </p:style>
        <p:txBody>
          <a:bodyPr>
            <a:normAutofit/>
          </a:bodyPr>
          <a:lstStyle/>
          <a:p>
            <a:pPr algn="ctr"/>
            <a:r>
              <a:rPr lang="en-US" sz="3200" b="1" dirty="0">
                <a:ln w="22225">
                  <a:solidFill>
                    <a:schemeClr val="accent2"/>
                  </a:solidFill>
                  <a:prstDash val="solid"/>
                </a:ln>
                <a:solidFill>
                  <a:schemeClr val="accent2">
                    <a:lumMod val="40000"/>
                    <a:lumOff val="60000"/>
                  </a:schemeClr>
                </a:solidFill>
              </a:rPr>
              <a:t>The vicious cycle</a:t>
            </a:r>
          </a:p>
        </p:txBody>
      </p:sp>
      <p:pic>
        <p:nvPicPr>
          <p:cNvPr id="4" name="Content Placeholder 4" descr="A diagram of a cell cycle&#10;&#10;Description automatically generated">
            <a:extLst>
              <a:ext uri="{FF2B5EF4-FFF2-40B4-BE49-F238E27FC236}">
                <a16:creationId xmlns:a16="http://schemas.microsoft.com/office/drawing/2014/main" id="{AF35DF63-5F82-4440-12B3-F69B77D8C896}"/>
              </a:ext>
            </a:extLst>
          </p:cNvPr>
          <p:cNvPicPr>
            <a:picLocks noGrp="1" noChangeAspect="1"/>
          </p:cNvPicPr>
          <p:nvPr>
            <p:ph idx="1"/>
          </p:nvPr>
        </p:nvPicPr>
        <p:blipFill rotWithShape="1">
          <a:blip r:embed="rId2"/>
          <a:srcRect l="1211" t="1058" r="60815" b="80554"/>
          <a:stretch/>
        </p:blipFill>
        <p:spPr>
          <a:xfrm>
            <a:off x="4452028" y="115746"/>
            <a:ext cx="2943225" cy="800100"/>
          </a:xfrm>
        </p:spPr>
      </p:pic>
      <p:pic>
        <p:nvPicPr>
          <p:cNvPr id="5" name="Content Placeholder 4" descr="A diagram of a cell cycle&#10;&#10;Description automatically generated">
            <a:extLst>
              <a:ext uri="{FF2B5EF4-FFF2-40B4-BE49-F238E27FC236}">
                <a16:creationId xmlns:a16="http://schemas.microsoft.com/office/drawing/2014/main" id="{EC7FEB66-C562-59B3-EC05-4545E3F5CAB1}"/>
              </a:ext>
            </a:extLst>
          </p:cNvPr>
          <p:cNvPicPr>
            <a:picLocks noChangeAspect="1"/>
          </p:cNvPicPr>
          <p:nvPr/>
        </p:nvPicPr>
        <p:blipFill rotWithShape="1">
          <a:blip r:embed="rId2"/>
          <a:srcRect l="96" t="24654" r="73236" b="52290"/>
          <a:stretch/>
        </p:blipFill>
        <p:spPr>
          <a:xfrm>
            <a:off x="4294865" y="915846"/>
            <a:ext cx="3257550" cy="1581151"/>
          </a:xfrm>
          <a:prstGeom prst="rect">
            <a:avLst/>
          </a:prstGeom>
        </p:spPr>
      </p:pic>
      <p:graphicFrame>
        <p:nvGraphicFramePr>
          <p:cNvPr id="6" name="Diagram 5">
            <a:extLst>
              <a:ext uri="{FF2B5EF4-FFF2-40B4-BE49-F238E27FC236}">
                <a16:creationId xmlns:a16="http://schemas.microsoft.com/office/drawing/2014/main" id="{8579EC5B-9FFA-7FEF-0A36-C4EE04AFCC0E}"/>
              </a:ext>
            </a:extLst>
          </p:cNvPr>
          <p:cNvGraphicFramePr/>
          <p:nvPr/>
        </p:nvGraphicFramePr>
        <p:xfrm>
          <a:off x="2310714" y="2026897"/>
          <a:ext cx="7241059" cy="444843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Explosion 1 6">
            <a:extLst>
              <a:ext uri="{FF2B5EF4-FFF2-40B4-BE49-F238E27FC236}">
                <a16:creationId xmlns:a16="http://schemas.microsoft.com/office/drawing/2014/main" id="{558C2368-4944-1FE2-C1FF-E389246A2A3B}"/>
              </a:ext>
            </a:extLst>
          </p:cNvPr>
          <p:cNvSpPr/>
          <p:nvPr/>
        </p:nvSpPr>
        <p:spPr>
          <a:xfrm>
            <a:off x="4631742" y="3831771"/>
            <a:ext cx="2802885" cy="1761103"/>
          </a:xfrm>
          <a:prstGeom prst="irregularSeal1">
            <a:avLst/>
          </a:prstGeom>
          <a:solidFill>
            <a:srgbClr val="F7DDDE"/>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solidFill>
                  <a:srgbClr val="FF0000"/>
                </a:solidFill>
              </a:rPr>
              <a:t>Inflammation</a:t>
            </a:r>
          </a:p>
        </p:txBody>
      </p:sp>
      <p:pic>
        <p:nvPicPr>
          <p:cNvPr id="8" name="Content Placeholder 4" descr="A diagram of a cell cycle&#10;&#10;Description automatically generated">
            <a:extLst>
              <a:ext uri="{FF2B5EF4-FFF2-40B4-BE49-F238E27FC236}">
                <a16:creationId xmlns:a16="http://schemas.microsoft.com/office/drawing/2014/main" id="{A19CCDAE-EFD5-1672-F186-5CABAAE198D2}"/>
              </a:ext>
            </a:extLst>
          </p:cNvPr>
          <p:cNvPicPr>
            <a:picLocks noChangeAspect="1"/>
          </p:cNvPicPr>
          <p:nvPr/>
        </p:nvPicPr>
        <p:blipFill rotWithShape="1">
          <a:blip r:embed="rId2"/>
          <a:srcRect l="14763" t="47208" r="60925" b="10493"/>
          <a:stretch/>
        </p:blipFill>
        <p:spPr>
          <a:xfrm>
            <a:off x="72982" y="4471989"/>
            <a:ext cx="2378990" cy="2323815"/>
          </a:xfrm>
          <a:prstGeom prst="rect">
            <a:avLst/>
          </a:prstGeom>
        </p:spPr>
      </p:pic>
      <p:pic>
        <p:nvPicPr>
          <p:cNvPr id="3074" name="Picture 2" descr="Sickle cell vaso-occlusion: The dialectic between red cells and white cells  - Nicola Conran, Stephen H Embury, 2021">
            <a:extLst>
              <a:ext uri="{FF2B5EF4-FFF2-40B4-BE49-F238E27FC236}">
                <a16:creationId xmlns:a16="http://schemas.microsoft.com/office/drawing/2014/main" id="{52494A87-39D9-5787-B443-FB7ED02F29FA}"/>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660" b="15884"/>
          <a:stretch/>
        </p:blipFill>
        <p:spPr bwMode="auto">
          <a:xfrm>
            <a:off x="9032788" y="5514587"/>
            <a:ext cx="3086229" cy="12511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397645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F3BF59AC-BDA4-CFB9-38AA-350EBDD93A90}"/>
              </a:ext>
            </a:extLst>
          </p:cNvPr>
          <p:cNvSpPr>
            <a:spLocks noGrp="1"/>
          </p:cNvSpPr>
          <p:nvPr>
            <p:ph type="title"/>
          </p:nvPr>
        </p:nvSpPr>
        <p:spPr>
          <a:xfrm>
            <a:off x="152400" y="23096"/>
            <a:ext cx="10515600" cy="766119"/>
          </a:xfrm>
        </p:spPr>
        <p:txBody>
          <a:bodyPr>
            <a:normAutofit/>
          </a:bodyPr>
          <a:lstStyle/>
          <a:p>
            <a:r>
              <a:rPr lang="en-US" sz="2800" dirty="0"/>
              <a:t>Manifestations of Sickle Cell Disease</a:t>
            </a:r>
          </a:p>
        </p:txBody>
      </p:sp>
      <p:graphicFrame>
        <p:nvGraphicFramePr>
          <p:cNvPr id="7" name="Content Placeholder 6">
            <a:extLst>
              <a:ext uri="{FF2B5EF4-FFF2-40B4-BE49-F238E27FC236}">
                <a16:creationId xmlns:a16="http://schemas.microsoft.com/office/drawing/2014/main" id="{39C503B6-64BE-40F3-D782-88456B066405}"/>
              </a:ext>
            </a:extLst>
          </p:cNvPr>
          <p:cNvGraphicFramePr>
            <a:graphicFrameLocks noGrp="1"/>
          </p:cNvGraphicFramePr>
          <p:nvPr>
            <p:ph idx="1"/>
            <p:extLst>
              <p:ext uri="{D42A27DB-BD31-4B8C-83A1-F6EECF244321}">
                <p14:modId xmlns:p14="http://schemas.microsoft.com/office/powerpoint/2010/main" val="1530916037"/>
              </p:ext>
            </p:extLst>
          </p:nvPr>
        </p:nvGraphicFramePr>
        <p:xfrm>
          <a:off x="304801" y="856590"/>
          <a:ext cx="4713514" cy="5144819"/>
        </p:xfrm>
        <a:graphic>
          <a:graphicData uri="http://schemas.openxmlformats.org/drawingml/2006/table">
            <a:tbl>
              <a:tblPr firstRow="1" firstCol="1">
                <a:tableStyleId>{5C22544A-7EE6-4342-B048-85BDC9FD1C3A}</a:tableStyleId>
              </a:tblPr>
              <a:tblGrid>
                <a:gridCol w="1529154">
                  <a:extLst>
                    <a:ext uri="{9D8B030D-6E8A-4147-A177-3AD203B41FA5}">
                      <a16:colId xmlns:a16="http://schemas.microsoft.com/office/drawing/2014/main" val="1123317793"/>
                    </a:ext>
                  </a:extLst>
                </a:gridCol>
                <a:gridCol w="3184360">
                  <a:extLst>
                    <a:ext uri="{9D8B030D-6E8A-4147-A177-3AD203B41FA5}">
                      <a16:colId xmlns:a16="http://schemas.microsoft.com/office/drawing/2014/main" val="201982465"/>
                    </a:ext>
                  </a:extLst>
                </a:gridCol>
              </a:tblGrid>
              <a:tr h="438752">
                <a:tc gridSpan="2">
                  <a:txBody>
                    <a:bodyPr/>
                    <a:lstStyle/>
                    <a:p>
                      <a:r>
                        <a:rPr lang="en-US" dirty="0">
                          <a:solidFill>
                            <a:schemeClr val="bg1"/>
                          </a:solidFill>
                        </a:rPr>
                        <a:t>Manifestations and complications</a:t>
                      </a:r>
                    </a:p>
                  </a:txBody>
                  <a:tcPr/>
                </a:tc>
                <a:tc hMerge="1">
                  <a:txBody>
                    <a:bodyPr/>
                    <a:lstStyle/>
                    <a:p>
                      <a:endParaRPr lang="en-US" dirty="0"/>
                    </a:p>
                  </a:txBody>
                  <a:tcPr/>
                </a:tc>
                <a:extLst>
                  <a:ext uri="{0D108BD9-81ED-4DB2-BD59-A6C34878D82A}">
                    <a16:rowId xmlns:a16="http://schemas.microsoft.com/office/drawing/2014/main" val="3206160669"/>
                  </a:ext>
                </a:extLst>
              </a:tr>
              <a:tr h="438752">
                <a:tc>
                  <a:txBody>
                    <a:bodyPr/>
                    <a:lstStyle/>
                    <a:p>
                      <a:r>
                        <a:rPr lang="en-US" dirty="0">
                          <a:solidFill>
                            <a:schemeClr val="accent1"/>
                          </a:solidFill>
                        </a:rPr>
                        <a:t>Acute</a:t>
                      </a:r>
                    </a:p>
                  </a:txBody>
                  <a:tcPr>
                    <a:solidFill>
                      <a:srgbClr val="F7DDDE"/>
                    </a:solidFill>
                  </a:tcPr>
                </a:tc>
                <a:tc>
                  <a:txBody>
                    <a:bodyPr/>
                    <a:lstStyle/>
                    <a:p>
                      <a:r>
                        <a:rPr lang="en-US" dirty="0"/>
                        <a:t>Hemolytic anemia</a:t>
                      </a:r>
                    </a:p>
                  </a:txBody>
                  <a:tcPr>
                    <a:solidFill>
                      <a:srgbClr val="F7DDDE"/>
                    </a:solidFill>
                  </a:tcPr>
                </a:tc>
                <a:extLst>
                  <a:ext uri="{0D108BD9-81ED-4DB2-BD59-A6C34878D82A}">
                    <a16:rowId xmlns:a16="http://schemas.microsoft.com/office/drawing/2014/main" val="1022196143"/>
                  </a:ext>
                </a:extLst>
              </a:tr>
              <a:tr h="757299">
                <a:tc>
                  <a:txBody>
                    <a:bodyPr/>
                    <a:lstStyle/>
                    <a:p>
                      <a:endParaRPr lang="en-US" dirty="0">
                        <a:solidFill>
                          <a:schemeClr val="accent1"/>
                        </a:solidFill>
                      </a:endParaRPr>
                    </a:p>
                  </a:txBody>
                  <a:tcPr>
                    <a:solidFill>
                      <a:srgbClr val="F7DDDE"/>
                    </a:solidFill>
                  </a:tcPr>
                </a:tc>
                <a:tc>
                  <a:txBody>
                    <a:bodyPr/>
                    <a:lstStyle/>
                    <a:p>
                      <a:r>
                        <a:rPr lang="en-US" dirty="0"/>
                        <a:t>Painful </a:t>
                      </a:r>
                      <a:r>
                        <a:rPr lang="en-US" dirty="0" err="1"/>
                        <a:t>vaso</a:t>
                      </a:r>
                      <a:r>
                        <a:rPr lang="en-US" dirty="0"/>
                        <a:t>-occlusive episodes</a:t>
                      </a:r>
                    </a:p>
                  </a:txBody>
                  <a:tcPr>
                    <a:solidFill>
                      <a:srgbClr val="F7DDDE"/>
                    </a:solidFill>
                  </a:tcPr>
                </a:tc>
                <a:extLst>
                  <a:ext uri="{0D108BD9-81ED-4DB2-BD59-A6C34878D82A}">
                    <a16:rowId xmlns:a16="http://schemas.microsoft.com/office/drawing/2014/main" val="901335322"/>
                  </a:ext>
                </a:extLst>
              </a:tr>
              <a:tr h="438752">
                <a:tc>
                  <a:txBody>
                    <a:bodyPr/>
                    <a:lstStyle/>
                    <a:p>
                      <a:endParaRPr lang="en-US" dirty="0">
                        <a:solidFill>
                          <a:schemeClr val="accent1"/>
                        </a:solidFill>
                      </a:endParaRPr>
                    </a:p>
                  </a:txBody>
                  <a:tcPr>
                    <a:solidFill>
                      <a:srgbClr val="F7DDDE"/>
                    </a:solidFill>
                  </a:tcPr>
                </a:tc>
                <a:tc>
                  <a:txBody>
                    <a:bodyPr/>
                    <a:lstStyle/>
                    <a:p>
                      <a:r>
                        <a:rPr lang="en-US" dirty="0"/>
                        <a:t>Stroke</a:t>
                      </a:r>
                    </a:p>
                  </a:txBody>
                  <a:tcPr>
                    <a:solidFill>
                      <a:srgbClr val="F7DDDE"/>
                    </a:solidFill>
                  </a:tcPr>
                </a:tc>
                <a:extLst>
                  <a:ext uri="{0D108BD9-81ED-4DB2-BD59-A6C34878D82A}">
                    <a16:rowId xmlns:a16="http://schemas.microsoft.com/office/drawing/2014/main" val="2321214925"/>
                  </a:ext>
                </a:extLst>
              </a:tr>
              <a:tr h="438752">
                <a:tc>
                  <a:txBody>
                    <a:bodyPr/>
                    <a:lstStyle/>
                    <a:p>
                      <a:endParaRPr lang="en-US" dirty="0">
                        <a:solidFill>
                          <a:schemeClr val="accent1"/>
                        </a:solidFill>
                      </a:endParaRPr>
                    </a:p>
                  </a:txBody>
                  <a:tcPr>
                    <a:solidFill>
                      <a:srgbClr val="F7DDDE"/>
                    </a:solidFill>
                  </a:tcPr>
                </a:tc>
                <a:tc>
                  <a:txBody>
                    <a:bodyPr/>
                    <a:lstStyle/>
                    <a:p>
                      <a:r>
                        <a:rPr lang="en-US" dirty="0"/>
                        <a:t>Acute chest syndrome</a:t>
                      </a:r>
                    </a:p>
                  </a:txBody>
                  <a:tcPr>
                    <a:solidFill>
                      <a:srgbClr val="F7DDDE"/>
                    </a:solidFill>
                  </a:tcPr>
                </a:tc>
                <a:extLst>
                  <a:ext uri="{0D108BD9-81ED-4DB2-BD59-A6C34878D82A}">
                    <a16:rowId xmlns:a16="http://schemas.microsoft.com/office/drawing/2014/main" val="2795231075"/>
                  </a:ext>
                </a:extLst>
              </a:tr>
              <a:tr h="438752">
                <a:tc>
                  <a:txBody>
                    <a:bodyPr/>
                    <a:lstStyle/>
                    <a:p>
                      <a:endParaRPr lang="en-US" dirty="0">
                        <a:solidFill>
                          <a:schemeClr val="accent1"/>
                        </a:solidFill>
                      </a:endParaRPr>
                    </a:p>
                  </a:txBody>
                  <a:tcPr>
                    <a:solidFill>
                      <a:srgbClr val="F7DDDE"/>
                    </a:solidFill>
                  </a:tcPr>
                </a:tc>
                <a:tc>
                  <a:txBody>
                    <a:bodyPr/>
                    <a:lstStyle/>
                    <a:p>
                      <a:r>
                        <a:rPr lang="en-US" dirty="0"/>
                        <a:t>Infections</a:t>
                      </a:r>
                    </a:p>
                  </a:txBody>
                  <a:tcPr>
                    <a:solidFill>
                      <a:srgbClr val="F7DDDE"/>
                    </a:solidFill>
                  </a:tcPr>
                </a:tc>
                <a:extLst>
                  <a:ext uri="{0D108BD9-81ED-4DB2-BD59-A6C34878D82A}">
                    <a16:rowId xmlns:a16="http://schemas.microsoft.com/office/drawing/2014/main" val="698048208"/>
                  </a:ext>
                </a:extLst>
              </a:tr>
              <a:tr h="438752">
                <a:tc>
                  <a:txBody>
                    <a:bodyPr/>
                    <a:lstStyle/>
                    <a:p>
                      <a:r>
                        <a:rPr lang="en-US" dirty="0">
                          <a:solidFill>
                            <a:schemeClr val="accent1"/>
                          </a:solidFill>
                        </a:rPr>
                        <a:t>Chronic</a:t>
                      </a:r>
                    </a:p>
                  </a:txBody>
                  <a:tcPr>
                    <a:solidFill>
                      <a:schemeClr val="accent4">
                        <a:lumMod val="20000"/>
                        <a:lumOff val="80000"/>
                      </a:schemeClr>
                    </a:solidFill>
                  </a:tcPr>
                </a:tc>
                <a:tc>
                  <a:txBody>
                    <a:bodyPr/>
                    <a:lstStyle/>
                    <a:p>
                      <a:r>
                        <a:rPr lang="en-US" dirty="0"/>
                        <a:t>Pulmonary hypertension</a:t>
                      </a:r>
                    </a:p>
                  </a:txBody>
                  <a:tcPr>
                    <a:solidFill>
                      <a:schemeClr val="accent4">
                        <a:lumMod val="20000"/>
                        <a:lumOff val="80000"/>
                      </a:schemeClr>
                    </a:solidFill>
                  </a:tcPr>
                </a:tc>
                <a:extLst>
                  <a:ext uri="{0D108BD9-81ED-4DB2-BD59-A6C34878D82A}">
                    <a16:rowId xmlns:a16="http://schemas.microsoft.com/office/drawing/2014/main" val="2355459064"/>
                  </a:ext>
                </a:extLst>
              </a:tr>
              <a:tr h="438752">
                <a:tc>
                  <a:txBody>
                    <a:bodyPr/>
                    <a:lstStyle/>
                    <a:p>
                      <a:endParaRPr lang="en-US" dirty="0">
                        <a:solidFill>
                          <a:schemeClr val="accent1"/>
                        </a:solidFill>
                      </a:endParaRPr>
                    </a:p>
                  </a:txBody>
                  <a:tcPr>
                    <a:solidFill>
                      <a:schemeClr val="accent4">
                        <a:lumMod val="20000"/>
                        <a:lumOff val="80000"/>
                      </a:schemeClr>
                    </a:solidFill>
                  </a:tcPr>
                </a:tc>
                <a:tc>
                  <a:txBody>
                    <a:bodyPr/>
                    <a:lstStyle/>
                    <a:p>
                      <a:r>
                        <a:rPr lang="en-US" dirty="0"/>
                        <a:t>Hepatic complications</a:t>
                      </a:r>
                    </a:p>
                  </a:txBody>
                  <a:tcPr>
                    <a:solidFill>
                      <a:schemeClr val="accent4">
                        <a:lumMod val="20000"/>
                        <a:lumOff val="80000"/>
                      </a:schemeClr>
                    </a:solidFill>
                  </a:tcPr>
                </a:tc>
                <a:extLst>
                  <a:ext uri="{0D108BD9-81ED-4DB2-BD59-A6C34878D82A}">
                    <a16:rowId xmlns:a16="http://schemas.microsoft.com/office/drawing/2014/main" val="826901599"/>
                  </a:ext>
                </a:extLst>
              </a:tr>
              <a:tr h="438752">
                <a:tc>
                  <a:txBody>
                    <a:bodyPr/>
                    <a:lstStyle/>
                    <a:p>
                      <a:endParaRPr lang="en-US" dirty="0">
                        <a:solidFill>
                          <a:schemeClr val="accent1"/>
                        </a:solidFill>
                      </a:endParaRPr>
                    </a:p>
                  </a:txBody>
                  <a:tcPr>
                    <a:solidFill>
                      <a:schemeClr val="accent4">
                        <a:lumMod val="20000"/>
                        <a:lumOff val="80000"/>
                      </a:schemeClr>
                    </a:solidFill>
                  </a:tcPr>
                </a:tc>
                <a:tc>
                  <a:txBody>
                    <a:bodyPr/>
                    <a:lstStyle/>
                    <a:p>
                      <a:r>
                        <a:rPr lang="en-US" dirty="0"/>
                        <a:t>Kidney disease</a:t>
                      </a:r>
                    </a:p>
                  </a:txBody>
                  <a:tcPr>
                    <a:solidFill>
                      <a:schemeClr val="accent4">
                        <a:lumMod val="20000"/>
                        <a:lumOff val="80000"/>
                      </a:schemeClr>
                    </a:solidFill>
                  </a:tcPr>
                </a:tc>
                <a:extLst>
                  <a:ext uri="{0D108BD9-81ED-4DB2-BD59-A6C34878D82A}">
                    <a16:rowId xmlns:a16="http://schemas.microsoft.com/office/drawing/2014/main" val="64156426"/>
                  </a:ext>
                </a:extLst>
              </a:tr>
              <a:tr h="438752">
                <a:tc>
                  <a:txBody>
                    <a:bodyPr/>
                    <a:lstStyle/>
                    <a:p>
                      <a:endParaRPr lang="en-US" dirty="0">
                        <a:solidFill>
                          <a:schemeClr val="accent1"/>
                        </a:solidFill>
                      </a:endParaRPr>
                    </a:p>
                  </a:txBody>
                  <a:tcPr>
                    <a:solidFill>
                      <a:schemeClr val="accent4">
                        <a:lumMod val="20000"/>
                        <a:lumOff val="80000"/>
                      </a:schemeClr>
                    </a:solidFill>
                  </a:tcPr>
                </a:tc>
                <a:tc>
                  <a:txBody>
                    <a:bodyPr/>
                    <a:lstStyle/>
                    <a:p>
                      <a:r>
                        <a:rPr lang="en-US" dirty="0"/>
                        <a:t>Retinopathy</a:t>
                      </a:r>
                    </a:p>
                  </a:txBody>
                  <a:tcPr>
                    <a:solidFill>
                      <a:schemeClr val="accent4">
                        <a:lumMod val="20000"/>
                        <a:lumOff val="80000"/>
                      </a:schemeClr>
                    </a:solidFill>
                  </a:tcPr>
                </a:tc>
                <a:extLst>
                  <a:ext uri="{0D108BD9-81ED-4DB2-BD59-A6C34878D82A}">
                    <a16:rowId xmlns:a16="http://schemas.microsoft.com/office/drawing/2014/main" val="1794924989"/>
                  </a:ext>
                </a:extLst>
              </a:tr>
              <a:tr h="438752">
                <a:tc>
                  <a:txBody>
                    <a:bodyPr/>
                    <a:lstStyle/>
                    <a:p>
                      <a:endParaRPr lang="en-US" dirty="0">
                        <a:solidFill>
                          <a:schemeClr val="accent1"/>
                        </a:solidFill>
                      </a:endParaRPr>
                    </a:p>
                  </a:txBody>
                  <a:tcPr>
                    <a:solidFill>
                      <a:schemeClr val="accent4">
                        <a:lumMod val="20000"/>
                        <a:lumOff val="80000"/>
                      </a:schemeClr>
                    </a:solidFill>
                  </a:tcPr>
                </a:tc>
                <a:tc>
                  <a:txBody>
                    <a:bodyPr/>
                    <a:lstStyle/>
                    <a:p>
                      <a:r>
                        <a:rPr lang="en-US" dirty="0"/>
                        <a:t>Avascular necrosis</a:t>
                      </a:r>
                    </a:p>
                  </a:txBody>
                  <a:tcPr>
                    <a:solidFill>
                      <a:schemeClr val="accent4">
                        <a:lumMod val="20000"/>
                        <a:lumOff val="80000"/>
                      </a:schemeClr>
                    </a:solidFill>
                  </a:tcPr>
                </a:tc>
                <a:extLst>
                  <a:ext uri="{0D108BD9-81ED-4DB2-BD59-A6C34878D82A}">
                    <a16:rowId xmlns:a16="http://schemas.microsoft.com/office/drawing/2014/main" val="2790578723"/>
                  </a:ext>
                </a:extLst>
              </a:tr>
            </a:tbl>
          </a:graphicData>
        </a:graphic>
      </p:graphicFrame>
      <p:pic>
        <p:nvPicPr>
          <p:cNvPr id="4098" name="Picture 2">
            <a:extLst>
              <a:ext uri="{FF2B5EF4-FFF2-40B4-BE49-F238E27FC236}">
                <a16:creationId xmlns:a16="http://schemas.microsoft.com/office/drawing/2014/main" id="{E4371E85-46A4-9A54-CF62-833E416088F6}"/>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550857" y="979715"/>
            <a:ext cx="6499629" cy="534224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46AB1668-26FD-4539-0BCF-61ED5E763631}"/>
              </a:ext>
            </a:extLst>
          </p:cNvPr>
          <p:cNvSpPr txBox="1"/>
          <p:nvPr/>
        </p:nvSpPr>
        <p:spPr>
          <a:xfrm>
            <a:off x="6933557" y="6456705"/>
            <a:ext cx="5116929" cy="246221"/>
          </a:xfrm>
          <a:prstGeom prst="rect">
            <a:avLst/>
          </a:prstGeom>
          <a:noFill/>
        </p:spPr>
        <p:txBody>
          <a:bodyPr wrap="square">
            <a:spAutoFit/>
          </a:bodyPr>
          <a:lstStyle/>
          <a:p>
            <a:r>
              <a:rPr lang="en-US" sz="1000" dirty="0"/>
              <a:t>Kato, G., </a:t>
            </a:r>
            <a:r>
              <a:rPr lang="en-US" sz="1000" dirty="0" err="1"/>
              <a:t>Piel</a:t>
            </a:r>
            <a:r>
              <a:rPr lang="en-US" sz="1000" dirty="0"/>
              <a:t>, F., Reid, C. et al. Sickle cell disease. Nat Rev Dis Primers 4, 18010 (2018)</a:t>
            </a:r>
          </a:p>
        </p:txBody>
      </p:sp>
    </p:spTree>
    <p:extLst>
      <p:ext uri="{BB962C8B-B14F-4D97-AF65-F5344CB8AC3E}">
        <p14:creationId xmlns:p14="http://schemas.microsoft.com/office/powerpoint/2010/main" val="390184841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D7A23-B26F-8343-8D77-04AE3449BC40}"/>
              </a:ext>
            </a:extLst>
          </p:cNvPr>
          <p:cNvSpPr>
            <a:spLocks noGrp="1"/>
          </p:cNvSpPr>
          <p:nvPr>
            <p:ph type="title"/>
          </p:nvPr>
        </p:nvSpPr>
        <p:spPr>
          <a:xfrm>
            <a:off x="1703512" y="260648"/>
            <a:ext cx="8710688" cy="679904"/>
          </a:xfrm>
        </p:spPr>
        <p:txBody>
          <a:bodyPr>
            <a:noAutofit/>
          </a:bodyPr>
          <a:lstStyle/>
          <a:p>
            <a:r>
              <a:rPr lang="en-US" sz="3600" b="1" u="sng" dirty="0">
                <a:solidFill>
                  <a:schemeClr val="tx2"/>
                </a:solidFill>
              </a:rPr>
              <a:t>Extreme Heterogenousity in Clinical Manifestations</a:t>
            </a:r>
          </a:p>
        </p:txBody>
      </p:sp>
      <p:pic>
        <p:nvPicPr>
          <p:cNvPr id="5" name="Picture 4" descr="PHOTOG~1">
            <a:extLst>
              <a:ext uri="{FF2B5EF4-FFF2-40B4-BE49-F238E27FC236}">
                <a16:creationId xmlns:a16="http://schemas.microsoft.com/office/drawing/2014/main" id="{E67C6D4B-F158-694A-830A-97E43BABA65D}"/>
              </a:ext>
            </a:extLst>
          </p:cNvPr>
          <p:cNvPicPr>
            <a:picLocks noChangeAspect="1" noChangeArrowheads="1"/>
          </p:cNvPicPr>
          <p:nvPr/>
        </p:nvPicPr>
        <p:blipFill>
          <a:blip r:embed="rId3" cstate="print"/>
          <a:srcRect t="36372" r="70245" b="16342"/>
          <a:stretch>
            <a:fillRect/>
          </a:stretch>
        </p:blipFill>
        <p:spPr bwMode="auto">
          <a:xfrm>
            <a:off x="1942298" y="1340768"/>
            <a:ext cx="744379" cy="4896544"/>
          </a:xfrm>
          <a:prstGeom prst="rect">
            <a:avLst/>
          </a:prstGeom>
          <a:noFill/>
          <a:ln w="9525">
            <a:noFill/>
            <a:miter lim="800000"/>
            <a:headEnd/>
            <a:tailEnd/>
          </a:ln>
        </p:spPr>
      </p:pic>
      <p:pic>
        <p:nvPicPr>
          <p:cNvPr id="7" name="Picture 6">
            <a:extLst>
              <a:ext uri="{FF2B5EF4-FFF2-40B4-BE49-F238E27FC236}">
                <a16:creationId xmlns:a16="http://schemas.microsoft.com/office/drawing/2014/main" id="{73708A29-370D-5D4A-BC50-DD23DA66D678}"/>
              </a:ext>
            </a:extLst>
          </p:cNvPr>
          <p:cNvPicPr>
            <a:picLocks noChangeAspect="1"/>
          </p:cNvPicPr>
          <p:nvPr/>
        </p:nvPicPr>
        <p:blipFill>
          <a:blip r:embed="rId4" cstate="print"/>
          <a:stretch>
            <a:fillRect/>
          </a:stretch>
        </p:blipFill>
        <p:spPr>
          <a:xfrm>
            <a:off x="5807968" y="1198224"/>
            <a:ext cx="1122242" cy="2232293"/>
          </a:xfrm>
          <a:prstGeom prst="rect">
            <a:avLst/>
          </a:prstGeom>
        </p:spPr>
      </p:pic>
      <p:pic>
        <p:nvPicPr>
          <p:cNvPr id="8" name="Picture 3">
            <a:extLst>
              <a:ext uri="{FF2B5EF4-FFF2-40B4-BE49-F238E27FC236}">
                <a16:creationId xmlns:a16="http://schemas.microsoft.com/office/drawing/2014/main" id="{FDBEB556-670D-B445-B338-E3A1516830F1}"/>
              </a:ext>
            </a:extLst>
          </p:cNvPr>
          <p:cNvPicPr>
            <a:picLocks noChangeAspect="1" noChangeArrowheads="1"/>
          </p:cNvPicPr>
          <p:nvPr/>
        </p:nvPicPr>
        <p:blipFill>
          <a:blip r:embed="rId5" cstate="print"/>
          <a:srcRect l="34491" t="33812" r="19521" b="15814"/>
          <a:stretch>
            <a:fillRect/>
          </a:stretch>
        </p:blipFill>
        <p:spPr bwMode="auto">
          <a:xfrm>
            <a:off x="7798436" y="3364082"/>
            <a:ext cx="2849170" cy="2922228"/>
          </a:xfrm>
          <a:prstGeom prst="rect">
            <a:avLst/>
          </a:prstGeom>
          <a:noFill/>
          <a:ln w="9525">
            <a:solidFill>
              <a:srgbClr val="000099"/>
            </a:solidFill>
            <a:miter lim="800000"/>
            <a:headEnd/>
            <a:tailEnd/>
          </a:ln>
          <a:effectLst/>
        </p:spPr>
      </p:pic>
      <p:pic>
        <p:nvPicPr>
          <p:cNvPr id="10" name="Picture 11" descr="SicklePhotograph">
            <a:extLst>
              <a:ext uri="{FF2B5EF4-FFF2-40B4-BE49-F238E27FC236}">
                <a16:creationId xmlns:a16="http://schemas.microsoft.com/office/drawing/2014/main" id="{F29C3D39-AA58-984E-83CF-B82504E6C090}"/>
              </a:ext>
            </a:extLst>
          </p:cNvPr>
          <p:cNvPicPr>
            <a:picLocks noChangeAspect="1" noChangeArrowheads="1"/>
          </p:cNvPicPr>
          <p:nvPr/>
        </p:nvPicPr>
        <p:blipFill>
          <a:blip r:embed="rId6" cstate="print"/>
          <a:srcRect/>
          <a:stretch>
            <a:fillRect/>
          </a:stretch>
        </p:blipFill>
        <p:spPr bwMode="auto">
          <a:xfrm>
            <a:off x="2847080" y="1171436"/>
            <a:ext cx="1880768" cy="5065876"/>
          </a:xfrm>
          <a:prstGeom prst="rect">
            <a:avLst/>
          </a:prstGeom>
          <a:noFill/>
        </p:spPr>
      </p:pic>
      <p:pic>
        <p:nvPicPr>
          <p:cNvPr id="12" name="Picture 4"/>
          <p:cNvPicPr>
            <a:picLocks noChangeAspect="1" noChangeArrowheads="1"/>
          </p:cNvPicPr>
          <p:nvPr/>
        </p:nvPicPr>
        <p:blipFill>
          <a:blip r:embed="rId7" cstate="print"/>
          <a:srcRect l="33224" t="43211" r="18892" b="38667"/>
          <a:stretch>
            <a:fillRect/>
          </a:stretch>
        </p:blipFill>
        <p:spPr bwMode="auto">
          <a:xfrm>
            <a:off x="7798436" y="1434647"/>
            <a:ext cx="2849170" cy="1567293"/>
          </a:xfrm>
          <a:prstGeom prst="rect">
            <a:avLst/>
          </a:prstGeom>
          <a:noFill/>
          <a:ln w="9525">
            <a:solidFill>
              <a:srgbClr val="000099"/>
            </a:solidFill>
            <a:miter lim="800000"/>
            <a:headEnd/>
            <a:tailEnd/>
          </a:ln>
          <a:effectLst/>
        </p:spPr>
      </p:pic>
      <p:sp>
        <p:nvSpPr>
          <p:cNvPr id="16" name="Rectangle 15"/>
          <p:cNvSpPr/>
          <p:nvPr/>
        </p:nvSpPr>
        <p:spPr>
          <a:xfrm>
            <a:off x="2152651" y="3539122"/>
            <a:ext cx="420707" cy="16525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2"/>
          <p:cNvPicPr>
            <a:picLocks noChangeAspect="1" noChangeArrowheads="1"/>
          </p:cNvPicPr>
          <p:nvPr/>
        </p:nvPicPr>
        <p:blipFill>
          <a:blip r:embed="rId8" cstate="print"/>
          <a:srcRect/>
          <a:stretch>
            <a:fillRect/>
          </a:stretch>
        </p:blipFill>
        <p:spPr bwMode="auto">
          <a:xfrm>
            <a:off x="5231904" y="3667125"/>
            <a:ext cx="1997968" cy="3019152"/>
          </a:xfrm>
          <a:prstGeom prst="rect">
            <a:avLst/>
          </a:prstGeom>
          <a:noFill/>
          <a:ln w="9525">
            <a:solidFill>
              <a:srgbClr val="C00000"/>
            </a:solidFill>
            <a:miter lim="800000"/>
            <a:headEnd/>
            <a:tailEnd/>
          </a:ln>
          <a:effectLst/>
        </p:spPr>
      </p:pic>
    </p:spTree>
    <p:extLst>
      <p:ext uri="{BB962C8B-B14F-4D97-AF65-F5344CB8AC3E}">
        <p14:creationId xmlns:p14="http://schemas.microsoft.com/office/powerpoint/2010/main" val="42626587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200C1B-4F9C-4CFE-9A19-B5495650676A}"/>
              </a:ext>
            </a:extLst>
          </p:cNvPr>
          <p:cNvSpPr>
            <a:spLocks noGrp="1"/>
          </p:cNvSpPr>
          <p:nvPr>
            <p:ph type="title"/>
          </p:nvPr>
        </p:nvSpPr>
        <p:spPr>
          <a:xfrm>
            <a:off x="838200" y="18255"/>
            <a:ext cx="10515600" cy="1325563"/>
          </a:xfrm>
        </p:spPr>
        <p:txBody>
          <a:bodyPr>
            <a:normAutofit/>
          </a:bodyPr>
          <a:lstStyle/>
          <a:p>
            <a:r>
              <a:rPr lang="en-US" sz="4000" dirty="0"/>
              <a:t>Management of Sickle Cell Disease - Overview</a:t>
            </a:r>
            <a:endParaRPr lang="en-US" sz="4200" dirty="0"/>
          </a:p>
        </p:txBody>
      </p:sp>
      <p:graphicFrame>
        <p:nvGraphicFramePr>
          <p:cNvPr id="6" name="Content Placeholder 5">
            <a:extLst>
              <a:ext uri="{FF2B5EF4-FFF2-40B4-BE49-F238E27FC236}">
                <a16:creationId xmlns:a16="http://schemas.microsoft.com/office/drawing/2014/main" id="{9356B6C9-6DEA-4635-8262-BDA1F787F647}"/>
              </a:ext>
            </a:extLst>
          </p:cNvPr>
          <p:cNvGraphicFramePr>
            <a:graphicFrameLocks noGrp="1"/>
          </p:cNvGraphicFramePr>
          <p:nvPr>
            <p:ph idx="1"/>
            <p:extLst>
              <p:ext uri="{D42A27DB-BD31-4B8C-83A1-F6EECF244321}">
                <p14:modId xmlns:p14="http://schemas.microsoft.com/office/powerpoint/2010/main" val="4027657028"/>
              </p:ext>
            </p:extLst>
          </p:nvPr>
        </p:nvGraphicFramePr>
        <p:xfrm>
          <a:off x="838200" y="1343818"/>
          <a:ext cx="10515600" cy="469498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extBox 6">
            <a:extLst>
              <a:ext uri="{FF2B5EF4-FFF2-40B4-BE49-F238E27FC236}">
                <a16:creationId xmlns:a16="http://schemas.microsoft.com/office/drawing/2014/main" id="{A07D90FE-2423-4C4D-82B0-3E3FC5C3D037}"/>
              </a:ext>
            </a:extLst>
          </p:cNvPr>
          <p:cNvSpPr txBox="1">
            <a:spLocks/>
          </p:cNvSpPr>
          <p:nvPr/>
        </p:nvSpPr>
        <p:spPr>
          <a:xfrm>
            <a:off x="2938918" y="1534809"/>
            <a:ext cx="554960" cy="923330"/>
          </a:xfrm>
          <a:prstGeom prst="rect">
            <a:avLst/>
          </a:prstGeom>
          <a:noFill/>
        </p:spPr>
        <p:txBody>
          <a:bodyPr wrap="none" rtlCol="0">
            <a:spAutoFit/>
          </a:bodyPr>
          <a:lstStyle/>
          <a:p>
            <a:r>
              <a:rPr lang="en-US" sz="5400" dirty="0"/>
              <a:t>+</a:t>
            </a:r>
          </a:p>
        </p:txBody>
      </p:sp>
      <p:sp>
        <p:nvSpPr>
          <p:cNvPr id="8" name="TextBox 7">
            <a:extLst>
              <a:ext uri="{FF2B5EF4-FFF2-40B4-BE49-F238E27FC236}">
                <a16:creationId xmlns:a16="http://schemas.microsoft.com/office/drawing/2014/main" id="{ABB489A1-0634-475D-BB4F-47D453CF4319}"/>
              </a:ext>
            </a:extLst>
          </p:cNvPr>
          <p:cNvSpPr txBox="1">
            <a:spLocks/>
          </p:cNvSpPr>
          <p:nvPr/>
        </p:nvSpPr>
        <p:spPr>
          <a:xfrm>
            <a:off x="5669991" y="1563085"/>
            <a:ext cx="554960" cy="923330"/>
          </a:xfrm>
          <a:prstGeom prst="rect">
            <a:avLst/>
          </a:prstGeom>
          <a:noFill/>
        </p:spPr>
        <p:txBody>
          <a:bodyPr wrap="none" rtlCol="0">
            <a:spAutoFit/>
          </a:bodyPr>
          <a:lstStyle/>
          <a:p>
            <a:r>
              <a:rPr lang="en-US" sz="5400" dirty="0"/>
              <a:t>+</a:t>
            </a:r>
          </a:p>
        </p:txBody>
      </p:sp>
      <p:sp>
        <p:nvSpPr>
          <p:cNvPr id="9" name="TextBox 8">
            <a:extLst>
              <a:ext uri="{FF2B5EF4-FFF2-40B4-BE49-F238E27FC236}">
                <a16:creationId xmlns:a16="http://schemas.microsoft.com/office/drawing/2014/main" id="{3D0453DB-D1AE-407F-BB5B-19646DDC1181}"/>
              </a:ext>
            </a:extLst>
          </p:cNvPr>
          <p:cNvSpPr txBox="1">
            <a:spLocks/>
          </p:cNvSpPr>
          <p:nvPr/>
        </p:nvSpPr>
        <p:spPr>
          <a:xfrm>
            <a:off x="8335016" y="1530350"/>
            <a:ext cx="554960" cy="923330"/>
          </a:xfrm>
          <a:prstGeom prst="rect">
            <a:avLst/>
          </a:prstGeom>
          <a:noFill/>
        </p:spPr>
        <p:txBody>
          <a:bodyPr wrap="none" rtlCol="0">
            <a:spAutoFit/>
          </a:bodyPr>
          <a:lstStyle/>
          <a:p>
            <a:r>
              <a:rPr lang="en-US" sz="5400" dirty="0"/>
              <a:t>+</a:t>
            </a:r>
          </a:p>
        </p:txBody>
      </p:sp>
      <p:sp>
        <p:nvSpPr>
          <p:cNvPr id="3" name="TextBox 2">
            <a:extLst>
              <a:ext uri="{FF2B5EF4-FFF2-40B4-BE49-F238E27FC236}">
                <a16:creationId xmlns:a16="http://schemas.microsoft.com/office/drawing/2014/main" id="{311350F8-4748-3067-CDFB-FF2E649A13BE}"/>
              </a:ext>
            </a:extLst>
          </p:cNvPr>
          <p:cNvSpPr txBox="1"/>
          <p:nvPr/>
        </p:nvSpPr>
        <p:spPr>
          <a:xfrm>
            <a:off x="2935702" y="5261203"/>
            <a:ext cx="5399314" cy="777597"/>
          </a:xfrm>
          <a:prstGeom prst="roundRect">
            <a:avLst>
              <a:gd name="adj" fmla="val 30049"/>
            </a:avLst>
          </a:prstGeom>
          <a:solidFill>
            <a:schemeClr val="accent2">
              <a:lumMod val="20000"/>
              <a:lumOff val="80000"/>
            </a:schemeClr>
          </a:solidFill>
          <a:ln w="57150"/>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en-IN" sz="3600" b="1" dirty="0">
                <a:ln w="22225">
                  <a:solidFill>
                    <a:srgbClr val="FF0000"/>
                  </a:solidFill>
                  <a:prstDash val="solid"/>
                </a:ln>
                <a:solidFill>
                  <a:schemeClr val="accent2">
                    <a:lumMod val="40000"/>
                    <a:lumOff val="60000"/>
                  </a:schemeClr>
                </a:solidFill>
              </a:rPr>
              <a:t>COMPREHENSIVE CARE</a:t>
            </a:r>
          </a:p>
        </p:txBody>
      </p:sp>
    </p:spTree>
    <p:extLst>
      <p:ext uri="{BB962C8B-B14F-4D97-AF65-F5344CB8AC3E}">
        <p14:creationId xmlns:p14="http://schemas.microsoft.com/office/powerpoint/2010/main" val="40954612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P spid="9" grpId="0"/>
      <p:bldP spid="3"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eu3b5VuYcIOLyJL7DsYM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TemplafySlideFormConfiguration><![CDATA[{"formFields":[],"formDataEntries":[]}]]></TemplafySlideFormConfiguration>
</file>

<file path=customXml/item2.xml><?xml version="1.0" encoding="utf-8"?>
<TemplafySlideTemplateConfiguration><![CDATA[{"documentContentValidatorConfiguration":{"enableDocumentContentValidator":false,"documentContentValidatorVersion":0},"elementsMetadata":[],"slideId":"637352323191115078","enableDocumentContentUpdater":true,"version":"1.1"}]]></TemplafySlideTemplateConfiguration>
</file>

<file path=customXml/item3.xml><?xml version="1.0" encoding="utf-8"?>
<TemplafySlideFormConfiguration><![CDATA[{"formFields":[],"formDataEntries":[]}]]></TemplafySlideFormConfiguration>
</file>

<file path=customXml/item4.xml><?xml version="1.0" encoding="utf-8"?>
<TemplafySlideTemplateConfiguration><![CDATA[{"documentContentValidatorConfiguration":{"enableDocumentContentValidator":false,"documentContentValidatorVersion":0},"elementsMetadata":[],"slideId":"637352323191115078","enableDocumentContentUpdater":true,"version":"1.1"}]]></TemplafySlideTemplateConfiguration>
</file>

<file path=customXml/itemProps1.xml><?xml version="1.0" encoding="utf-8"?>
<ds:datastoreItem xmlns:ds="http://schemas.openxmlformats.org/officeDocument/2006/customXml" ds:itemID="{55CFD3A2-98EB-4D35-85AB-0A2603EF3020}">
  <ds:schemaRefs/>
</ds:datastoreItem>
</file>

<file path=customXml/itemProps2.xml><?xml version="1.0" encoding="utf-8"?>
<ds:datastoreItem xmlns:ds="http://schemas.openxmlformats.org/officeDocument/2006/customXml" ds:itemID="{645F427F-ADC6-40D5-B9C0-5D0F0AC40AB2}">
  <ds:schemaRefs/>
</ds:datastoreItem>
</file>

<file path=customXml/itemProps3.xml><?xml version="1.0" encoding="utf-8"?>
<ds:datastoreItem xmlns:ds="http://schemas.openxmlformats.org/officeDocument/2006/customXml" ds:itemID="{79194C7D-BAB3-45FB-A727-0896F961E7B0}">
  <ds:schemaRefs/>
</ds:datastoreItem>
</file>

<file path=customXml/itemProps4.xml><?xml version="1.0" encoding="utf-8"?>
<ds:datastoreItem xmlns:ds="http://schemas.openxmlformats.org/officeDocument/2006/customXml" ds:itemID="{9FC3958F-E08F-4AF7-A352-C8D7CDEC913D}">
  <ds:schemaRefs/>
</ds:datastoreItem>
</file>

<file path=docProps/app.xml><?xml version="1.0" encoding="utf-8"?>
<Properties xmlns="http://schemas.openxmlformats.org/officeDocument/2006/extended-properties" xmlns:vt="http://schemas.openxmlformats.org/officeDocument/2006/docPropsVTypes">
  <Template/>
  <TotalTime>750</TotalTime>
  <Words>3281</Words>
  <Application>Microsoft Office PowerPoint</Application>
  <PresentationFormat>Widescreen</PresentationFormat>
  <Paragraphs>509</Paragraphs>
  <Slides>40</Slides>
  <Notes>10</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40</vt:i4>
      </vt:variant>
    </vt:vector>
  </HeadingPairs>
  <TitlesOfParts>
    <vt:vector size="51" baseType="lpstr">
      <vt:lpstr>Aparajita</vt:lpstr>
      <vt:lpstr>Aptos</vt:lpstr>
      <vt:lpstr>Aptos Display</vt:lpstr>
      <vt:lpstr>Arial</vt:lpstr>
      <vt:lpstr>Calibri</vt:lpstr>
      <vt:lpstr>Noto Sans</vt:lpstr>
      <vt:lpstr>System Font Regular</vt:lpstr>
      <vt:lpstr>Times New Roman</vt:lpstr>
      <vt:lpstr>Wingdings</vt:lpstr>
      <vt:lpstr>Office Theme</vt:lpstr>
      <vt:lpstr>think-cell Slide</vt:lpstr>
      <vt:lpstr>Therapeutic approaches in Sickle Cell Disease</vt:lpstr>
      <vt:lpstr>Epidemiology </vt:lpstr>
      <vt:lpstr>OBJECTIVES </vt:lpstr>
      <vt:lpstr>Clinical manifestations of sickle cell disease</vt:lpstr>
      <vt:lpstr>PowerPoint Presentation</vt:lpstr>
      <vt:lpstr>The vicious cycle</vt:lpstr>
      <vt:lpstr>Manifestations of Sickle Cell Disease</vt:lpstr>
      <vt:lpstr>Extreme Heterogenousity in Clinical Manifestations</vt:lpstr>
      <vt:lpstr>Management of Sickle Cell Disease - Overview</vt:lpstr>
      <vt:lpstr>Evidence supported management strategies in sickle cell disease.</vt:lpstr>
      <vt:lpstr>Timeline of drug development</vt:lpstr>
      <vt:lpstr>Comprehensive Health care for Newborn Screening Programme</vt:lpstr>
      <vt:lpstr>PowerPoint Presentation</vt:lpstr>
      <vt:lpstr>Management of Acute Complications</vt:lpstr>
      <vt:lpstr>Management of Acute Complications</vt:lpstr>
      <vt:lpstr>PowerPoint Presentation</vt:lpstr>
      <vt:lpstr>Vaso-Occlusive Crisis (VOC)</vt:lpstr>
      <vt:lpstr>PowerPoint Presentation</vt:lpstr>
      <vt:lpstr>PowerPoint Presentation</vt:lpstr>
      <vt:lpstr>Management of Pain : SCD</vt:lpstr>
      <vt:lpstr>PowerPoint Presentation</vt:lpstr>
      <vt:lpstr>Management of Chronic Complications</vt:lpstr>
      <vt:lpstr>Management of Chronic Complications (cont)</vt:lpstr>
      <vt:lpstr>Management of Chronic Complications (cont)</vt:lpstr>
      <vt:lpstr>Management of Chronic Complications (cont)</vt:lpstr>
      <vt:lpstr>Management of Chronic Complications (cont)</vt:lpstr>
      <vt:lpstr>Management of Chronic Complications (cont)</vt:lpstr>
      <vt:lpstr>Indian Scenario</vt:lpstr>
      <vt:lpstr>PowerPoint Presentation</vt:lpstr>
      <vt:lpstr>HU in SCD : Summary</vt:lpstr>
      <vt:lpstr>Hydroxyurea</vt:lpstr>
      <vt:lpstr>Recommendations Against Transfusion</vt:lpstr>
      <vt:lpstr>Lesson 1 : Anemia</vt:lpstr>
      <vt:lpstr>Lesson 2: Anaemia</vt:lpstr>
      <vt:lpstr>Lesson 3 : Malaria</vt:lpstr>
      <vt:lpstr>Lesson 4 : Prophylaxis for Infection</vt:lpstr>
      <vt:lpstr>Lesson 5 : Protocol </vt:lpstr>
      <vt:lpstr>Living Well With Sickle Cell Disease</vt:lpstr>
      <vt:lpstr>Record keeping diary</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rapeutics in Sickle Cell Disease</dc:title>
  <dc:creator>Pushkar Admane</dc:creator>
  <cp:lastModifiedBy>Sukanya Baruah</cp:lastModifiedBy>
  <cp:revision>21</cp:revision>
  <dcterms:created xsi:type="dcterms:W3CDTF">2024-10-14T16:29:31Z</dcterms:created>
  <dcterms:modified xsi:type="dcterms:W3CDTF">2024-10-22T16:24:15Z</dcterms:modified>
</cp:coreProperties>
</file>